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Lst>
  <p:notesMasterIdLst>
    <p:notesMasterId r:id="rId12"/>
  </p:notesMasterIdLst>
  <p:handoutMasterIdLst>
    <p:handoutMasterId r:id="rId13"/>
  </p:handoutMasterIdLst>
  <p:sldIdLst>
    <p:sldId id="2147476456" r:id="rId7"/>
    <p:sldId id="2147476450" r:id="rId8"/>
    <p:sldId id="2147476470" r:id="rId9"/>
    <p:sldId id="2147476476" r:id="rId10"/>
    <p:sldId id="2147476466" r:id="rId11"/>
  </p:sldIdLst>
  <p:sldSz cx="12192000" cy="6858000"/>
  <p:notesSz cx="6858000" cy="9144000"/>
  <p:custDataLst>
    <p:tags r:id="rId1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2CA10B2-6C95-0445-B5BB-69637939320A}">
          <p14:sldIdLst>
            <p14:sldId id="2147476456"/>
            <p14:sldId id="2147476450"/>
          </p14:sldIdLst>
        </p14:section>
        <p14:section name="Management Summary" id="{C84873E9-0B9B-874C-8F79-36C6EA9895C0}">
          <p14:sldIdLst>
            <p14:sldId id="2147476470"/>
          </p14:sldIdLst>
        </p14:section>
        <p14:section name="Introduction" id="{FCECBCC3-21A7-1B42-84CB-E5C5535CFD62}">
          <p14:sldIdLst/>
        </p14:section>
        <p14:section name="Results" id="{957EC91F-AE62-2A44-BC46-75052B7E2573}">
          <p14:sldIdLst/>
        </p14:section>
        <p14:section name="Recommendation" id="{719BA89B-6F51-FF41-8E65-CC61ADA8BC02}">
          <p14:sldIdLst/>
        </p14:section>
        <p14:section name="PoC" id="{6155143A-97AA-FC4A-AF44-4843D1B438B8}">
          <p14:sldIdLst>
            <p14:sldId id="2147476476"/>
            <p14:sldId id="21474764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87FF98-59ED-6D00-85D7-97CA8DE68A04}" name="Kamp, Birgit" initials="KB" userId="S::b.kamp@caldic.nl::fabdecad-45d8-4dd6-a82b-df17681f8ad8" providerId="AD"/>
  <p188:author id="{0000F3EB-AA22-2711-851A-6081C23BF1E8}" name="Rene Nadorp" initials="" userId="S::rene.nadorp@inergy.nl::900156ff-9b09-48e4-ae43-73974d19a32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elle de Korte" initials="JdK" lastIdx="1" clrIdx="0">
    <p:extLst>
      <p:ext uri="{19B8F6BF-5375-455C-9EA6-DF929625EA0E}">
        <p15:presenceInfo xmlns:p15="http://schemas.microsoft.com/office/powerpoint/2012/main" userId="S-1-5-21-2890558824-3927818043-3374662254-1152" providerId="AD"/>
      </p:ext>
    </p:extLst>
  </p:cmAuthor>
  <p:cmAuthor id="2" name="Rodney Assenberg" initials="RA" lastIdx="32" clrIdx="1">
    <p:extLst>
      <p:ext uri="{19B8F6BF-5375-455C-9EA6-DF929625EA0E}">
        <p15:presenceInfo xmlns:p15="http://schemas.microsoft.com/office/powerpoint/2012/main" userId="S::rodney@pptsolutions.nl::eb9218f5-9d3d-4dde-8c59-99b1c1139f6f" providerId="AD"/>
      </p:ext>
    </p:extLst>
  </p:cmAuthor>
  <p:cmAuthor id="3" name="Naomi Bommezijn" initials="NB" lastIdx="73" clrIdx="2">
    <p:extLst>
      <p:ext uri="{19B8F6BF-5375-455C-9EA6-DF929625EA0E}">
        <p15:presenceInfo xmlns:p15="http://schemas.microsoft.com/office/powerpoint/2012/main" userId="S::naomi@pptcompany.com::32f2c752-ca12-4070-92af-d3636073028f" providerId="AD"/>
      </p:ext>
    </p:extLst>
  </p:cmAuthor>
  <p:cmAuthor id="4" name="Dorleijn, Babette" initials="DB" lastIdx="66" clrIdx="3">
    <p:extLst>
      <p:ext uri="{19B8F6BF-5375-455C-9EA6-DF929625EA0E}">
        <p15:presenceInfo xmlns:p15="http://schemas.microsoft.com/office/powerpoint/2012/main" userId="S-1-5-21-3109211571-2954484606-2289818929-3200" providerId="AD"/>
      </p:ext>
    </p:extLst>
  </p:cmAuthor>
  <p:cmAuthor id="5" name="Michael Wolf Visser" initials="MWV" lastIdx="50" clrIdx="4">
    <p:extLst>
      <p:ext uri="{19B8F6BF-5375-455C-9EA6-DF929625EA0E}">
        <p15:presenceInfo xmlns:p15="http://schemas.microsoft.com/office/powerpoint/2012/main" userId="Michael Wolf Vis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FFFFF"/>
    <a:srgbClr val="0A88BC"/>
    <a:srgbClr val="008CC8"/>
    <a:srgbClr val="A6A6A6"/>
    <a:srgbClr val="83DAFF"/>
    <a:srgbClr val="075D81"/>
    <a:srgbClr val="E3F0EB"/>
    <a:srgbClr val="E6ECEF"/>
    <a:srgbClr val="AA9D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71"/>
    <p:restoredTop sz="96966"/>
  </p:normalViewPr>
  <p:slideViewPr>
    <p:cSldViewPr snapToGrid="0">
      <p:cViewPr>
        <p:scale>
          <a:sx n="240" d="100"/>
          <a:sy n="240" d="100"/>
        </p:scale>
        <p:origin x="144" y="6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790FD16C-8895-420F-A8EA-49A46C0B976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Tijdelijke aanduiding voor datum 2">
            <a:extLst>
              <a:ext uri="{FF2B5EF4-FFF2-40B4-BE49-F238E27FC236}">
                <a16:creationId xmlns:a16="http://schemas.microsoft.com/office/drawing/2014/main" id="{3700728C-ECC4-4B3A-8BFF-86F26773B07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r>
              <a:rPr lang="en-US"/>
              <a:t> </a:t>
            </a:r>
          </a:p>
        </p:txBody>
      </p:sp>
      <p:sp>
        <p:nvSpPr>
          <p:cNvPr id="4" name="Tijdelijke aanduiding voor voettekst 3">
            <a:extLst>
              <a:ext uri="{FF2B5EF4-FFF2-40B4-BE49-F238E27FC236}">
                <a16:creationId xmlns:a16="http://schemas.microsoft.com/office/drawing/2014/main" id="{72BF263F-937E-45F8-8B87-C3897AF9CC6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 </a:t>
            </a:r>
          </a:p>
        </p:txBody>
      </p:sp>
      <p:sp>
        <p:nvSpPr>
          <p:cNvPr id="5" name="Tijdelijke aanduiding voor dianummer 4">
            <a:extLst>
              <a:ext uri="{FF2B5EF4-FFF2-40B4-BE49-F238E27FC236}">
                <a16:creationId xmlns:a16="http://schemas.microsoft.com/office/drawing/2014/main" id="{FAC4AB41-049A-45F6-8400-96B8E558F0A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93719E2-4BAC-4A20-AFDE-2A2DE3B6FB6C}" type="slidenum">
              <a:rPr lang="en-US" smtClean="0"/>
              <a:t>‹#›</a:t>
            </a:fld>
            <a:endParaRPr lang="en-US"/>
          </a:p>
        </p:txBody>
      </p:sp>
    </p:spTree>
    <p:extLst>
      <p:ext uri="{BB962C8B-B14F-4D97-AF65-F5344CB8AC3E}">
        <p14:creationId xmlns:p14="http://schemas.microsoft.com/office/powerpoint/2010/main" val="171239700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r>
              <a:rPr lang="nl-NL"/>
              <a:t> </a:t>
            </a:r>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nl-NL"/>
              <a:t> </a:t>
            </a:r>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88A791-D8E8-4C23-A528-EAEB42DC40E7}" type="slidenum">
              <a:rPr lang="nl-NL" smtClean="0"/>
              <a:t>‹#›</a:t>
            </a:fld>
            <a:endParaRPr lang="nl-NL"/>
          </a:p>
        </p:txBody>
      </p:sp>
    </p:spTree>
    <p:extLst>
      <p:ext uri="{BB962C8B-B14F-4D97-AF65-F5344CB8AC3E}">
        <p14:creationId xmlns:p14="http://schemas.microsoft.com/office/powerpoint/2010/main" val="93903720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88A791-D8E8-4C23-A528-EAEB42DC40E7}" type="slidenum">
              <a:rPr lang="en-US" smtClean="0"/>
              <a:t>1</a:t>
            </a:fld>
            <a:endParaRPr lang="en-US"/>
          </a:p>
        </p:txBody>
      </p:sp>
    </p:spTree>
    <p:extLst>
      <p:ext uri="{BB962C8B-B14F-4D97-AF65-F5344CB8AC3E}">
        <p14:creationId xmlns:p14="http://schemas.microsoft.com/office/powerpoint/2010/main" val="832405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930445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Functionality: </a:t>
            </a:r>
          </a:p>
          <a:p>
            <a:r>
              <a:rPr lang="en-US"/>
              <a:t>Snowflake scores better for real time / stream processing than ADF. For Open Table Format functionality, Snowflake has support for Iceberg tables and less for Delta tables, ADF has no native support for Iceberg tables, and for Delta tables only on Azure.</a:t>
            </a:r>
          </a:p>
          <a:p>
            <a:endParaRPr lang="en-US"/>
          </a:p>
          <a:p>
            <a:r>
              <a:rPr lang="en-US" b="1"/>
              <a:t>Maintainability: </a:t>
            </a:r>
          </a:p>
          <a:p>
            <a:r>
              <a:rPr lang="en-US"/>
              <a:t>Snowflake’s GIT integration in not Generally Available yet.</a:t>
            </a:r>
          </a:p>
          <a:p>
            <a:endParaRPr lang="en-US"/>
          </a:p>
          <a:p>
            <a:r>
              <a:rPr lang="en-US" b="1"/>
              <a:t>Observability: </a:t>
            </a:r>
          </a:p>
          <a:p>
            <a:r>
              <a:rPr lang="en-US"/>
              <a:t>Getting Snowflake logging into Azure Log Analytics requires some development, for ADF this is more easily configurable.</a:t>
            </a:r>
          </a:p>
          <a:p>
            <a:endParaRPr lang="en-US"/>
          </a:p>
          <a:p>
            <a:r>
              <a:rPr lang="en-US" b="1"/>
              <a:t>Performance: </a:t>
            </a:r>
          </a:p>
          <a:p>
            <a:r>
              <a:rPr lang="en-US"/>
              <a:t>Job start and activity latency in ADF, based on experience.</a:t>
            </a:r>
          </a:p>
          <a:p>
            <a:endParaRPr lang="en-US"/>
          </a:p>
          <a:p>
            <a:r>
              <a:rPr lang="en-US" b="1"/>
              <a:t>Reusability: </a:t>
            </a:r>
          </a:p>
          <a:p>
            <a:r>
              <a:rPr lang="en-US"/>
              <a:t>Reusing existing SQL scripts requires migration for both ADF and Snowflake:</a:t>
            </a:r>
          </a:p>
          <a:p>
            <a:r>
              <a:rPr lang="en-US"/>
              <a:t>An option for both ADF and SF is to store the </a:t>
            </a:r>
            <a:r>
              <a:rPr lang="en-US" err="1"/>
              <a:t>sql</a:t>
            </a:r>
            <a:r>
              <a:rPr lang="en-US"/>
              <a:t> scripts in a Snowflake table, and create a stored procedure with parameters to execute the SQL.</a:t>
            </a:r>
          </a:p>
          <a:p>
            <a:r>
              <a:rPr lang="en-US"/>
              <a:t>Another option is to </a:t>
            </a:r>
          </a:p>
          <a:p>
            <a:endParaRPr lang="en-US"/>
          </a:p>
          <a:p>
            <a:endParaRPr lang="en-US"/>
          </a:p>
          <a:p>
            <a:endParaRPr lang="en-US"/>
          </a:p>
          <a:p>
            <a:endParaRPr lang="en-US"/>
          </a:p>
          <a:p>
            <a:endParaRPr lang="en-US"/>
          </a:p>
        </p:txBody>
      </p:sp>
    </p:spTree>
    <p:extLst>
      <p:ext uri="{BB962C8B-B14F-4D97-AF65-F5344CB8AC3E}">
        <p14:creationId xmlns:p14="http://schemas.microsoft.com/office/powerpoint/2010/main" val="28584888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10"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OGO ANIMATION">
    <p:spTree>
      <p:nvGrpSpPr>
        <p:cNvPr id="1" name=""/>
        <p:cNvGrpSpPr/>
        <p:nvPr/>
      </p:nvGrpSpPr>
      <p:grpSpPr>
        <a:xfrm>
          <a:off x="0" y="0"/>
          <a:ext cx="0" cy="0"/>
          <a:chOff x="0" y="0"/>
          <a:chExt cx="0" cy="0"/>
        </a:xfrm>
      </p:grpSpPr>
      <p:sp>
        <p:nvSpPr>
          <p:cNvPr id="4" name="COVER">
            <a:extLst>
              <a:ext uri="{FF2B5EF4-FFF2-40B4-BE49-F238E27FC236}">
                <a16:creationId xmlns:a16="http://schemas.microsoft.com/office/drawing/2014/main" id="{18C7CB61-DFBC-4B3D-AAA9-17B689442CC1}"/>
              </a:ext>
            </a:extLst>
          </p:cNvPr>
          <p:cNvSpPr/>
          <p:nvPr userDrawn="1"/>
        </p:nvSpPr>
        <p:spPr>
          <a:xfrm>
            <a:off x="3059"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C Beeldmerk">
            <a:extLst>
              <a:ext uri="{FF2B5EF4-FFF2-40B4-BE49-F238E27FC236}">
                <a16:creationId xmlns:a16="http://schemas.microsoft.com/office/drawing/2014/main" id="{33DC0C72-16E0-AF51-9DA6-7499883E1F45}"/>
              </a:ext>
            </a:extLst>
          </p:cNvPr>
          <p:cNvSpPr>
            <a:spLocks/>
          </p:cNvSpPr>
          <p:nvPr userDrawn="1"/>
        </p:nvSpPr>
        <p:spPr bwMode="auto">
          <a:xfrm>
            <a:off x="6812327" y="3218643"/>
            <a:ext cx="865503" cy="729327"/>
          </a:xfrm>
          <a:custGeom>
            <a:avLst/>
            <a:gdLst>
              <a:gd name="T0" fmla="*/ 633 w 947"/>
              <a:gd name="T1" fmla="*/ 0 h 798"/>
              <a:gd name="T2" fmla="*/ 505 w 947"/>
              <a:gd name="T3" fmla="*/ 229 h 798"/>
              <a:gd name="T4" fmla="*/ 684 w 947"/>
              <a:gd name="T5" fmla="*/ 545 h 798"/>
              <a:gd name="T6" fmla="*/ 0 w 947"/>
              <a:gd name="T7" fmla="*/ 545 h 798"/>
              <a:gd name="T8" fmla="*/ 145 w 947"/>
              <a:gd name="T9" fmla="*/ 798 h 798"/>
              <a:gd name="T10" fmla="*/ 800 w 947"/>
              <a:gd name="T11" fmla="*/ 798 h 798"/>
              <a:gd name="T12" fmla="*/ 947 w 947"/>
              <a:gd name="T13" fmla="*/ 542 h 798"/>
              <a:gd name="T14" fmla="*/ 633 w 947"/>
              <a:gd name="T15" fmla="*/ 0 h 7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7" h="798">
                <a:moveTo>
                  <a:pt x="633" y="0"/>
                </a:moveTo>
                <a:lnTo>
                  <a:pt x="505" y="229"/>
                </a:lnTo>
                <a:lnTo>
                  <a:pt x="684" y="545"/>
                </a:lnTo>
                <a:lnTo>
                  <a:pt x="0" y="545"/>
                </a:lnTo>
                <a:lnTo>
                  <a:pt x="145" y="798"/>
                </a:lnTo>
                <a:lnTo>
                  <a:pt x="800" y="798"/>
                </a:lnTo>
                <a:lnTo>
                  <a:pt x="947" y="542"/>
                </a:lnTo>
                <a:lnTo>
                  <a:pt x="63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219" name="B Beeldmerk">
            <a:extLst>
              <a:ext uri="{FF2B5EF4-FFF2-40B4-BE49-F238E27FC236}">
                <a16:creationId xmlns:a16="http://schemas.microsoft.com/office/drawing/2014/main" id="{BA0A4E77-6E66-86D7-C86C-E371A78787AA}"/>
              </a:ext>
            </a:extLst>
          </p:cNvPr>
          <p:cNvSpPr>
            <a:spLocks/>
          </p:cNvSpPr>
          <p:nvPr userDrawn="1"/>
        </p:nvSpPr>
        <p:spPr bwMode="auto">
          <a:xfrm>
            <a:off x="6991157" y="2908054"/>
            <a:ext cx="850881" cy="754002"/>
          </a:xfrm>
          <a:custGeom>
            <a:avLst/>
            <a:gdLst>
              <a:gd name="T0" fmla="*/ 309 w 931"/>
              <a:gd name="T1" fmla="*/ 0 h 825"/>
              <a:gd name="T2" fmla="*/ 0 w 931"/>
              <a:gd name="T3" fmla="*/ 539 h 825"/>
              <a:gd name="T4" fmla="*/ 260 w 931"/>
              <a:gd name="T5" fmla="*/ 539 h 825"/>
              <a:gd name="T6" fmla="*/ 437 w 931"/>
              <a:gd name="T7" fmla="*/ 224 h 825"/>
              <a:gd name="T8" fmla="*/ 783 w 931"/>
              <a:gd name="T9" fmla="*/ 825 h 825"/>
              <a:gd name="T10" fmla="*/ 931 w 931"/>
              <a:gd name="T11" fmla="*/ 569 h 825"/>
              <a:gd name="T12" fmla="*/ 604 w 931"/>
              <a:gd name="T13" fmla="*/ 0 h 825"/>
              <a:gd name="T14" fmla="*/ 309 w 931"/>
              <a:gd name="T15" fmla="*/ 0 h 8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825">
                <a:moveTo>
                  <a:pt x="309" y="0"/>
                </a:moveTo>
                <a:lnTo>
                  <a:pt x="0" y="539"/>
                </a:lnTo>
                <a:lnTo>
                  <a:pt x="260" y="539"/>
                </a:lnTo>
                <a:lnTo>
                  <a:pt x="437" y="224"/>
                </a:lnTo>
                <a:lnTo>
                  <a:pt x="783" y="825"/>
                </a:lnTo>
                <a:lnTo>
                  <a:pt x="931" y="569"/>
                </a:lnTo>
                <a:lnTo>
                  <a:pt x="604" y="0"/>
                </a:lnTo>
                <a:lnTo>
                  <a:pt x="309"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218" name="A Beeldmerk">
            <a:extLst>
              <a:ext uri="{FF2B5EF4-FFF2-40B4-BE49-F238E27FC236}">
                <a16:creationId xmlns:a16="http://schemas.microsoft.com/office/drawing/2014/main" id="{5FBBA8C5-1B30-9EF0-9AE6-62CC289C0758}"/>
              </a:ext>
            </a:extLst>
          </p:cNvPr>
          <p:cNvSpPr>
            <a:spLocks/>
          </p:cNvSpPr>
          <p:nvPr userDrawn="1"/>
        </p:nvSpPr>
        <p:spPr bwMode="auto">
          <a:xfrm>
            <a:off x="6646140" y="2903970"/>
            <a:ext cx="700994" cy="756745"/>
          </a:xfrm>
          <a:custGeom>
            <a:avLst/>
            <a:gdLst>
              <a:gd name="T0" fmla="*/ 767 w 767"/>
              <a:gd name="T1" fmla="*/ 828 h 828"/>
              <a:gd name="T2" fmla="*/ 638 w 767"/>
              <a:gd name="T3" fmla="*/ 596 h 828"/>
              <a:gd name="T4" fmla="*/ 276 w 767"/>
              <a:gd name="T5" fmla="*/ 596 h 828"/>
              <a:gd name="T6" fmla="*/ 622 w 767"/>
              <a:gd name="T7" fmla="*/ 0 h 828"/>
              <a:gd name="T8" fmla="*/ 327 w 767"/>
              <a:gd name="T9" fmla="*/ 0 h 828"/>
              <a:gd name="T10" fmla="*/ 0 w 767"/>
              <a:gd name="T11" fmla="*/ 569 h 828"/>
              <a:gd name="T12" fmla="*/ 148 w 767"/>
              <a:gd name="T13" fmla="*/ 828 h 828"/>
              <a:gd name="T14" fmla="*/ 767 w 767"/>
              <a:gd name="T15" fmla="*/ 828 h 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 h="828">
                <a:moveTo>
                  <a:pt x="767" y="828"/>
                </a:moveTo>
                <a:lnTo>
                  <a:pt x="638" y="596"/>
                </a:lnTo>
                <a:lnTo>
                  <a:pt x="276" y="596"/>
                </a:lnTo>
                <a:lnTo>
                  <a:pt x="622" y="0"/>
                </a:lnTo>
                <a:lnTo>
                  <a:pt x="327" y="0"/>
                </a:lnTo>
                <a:lnTo>
                  <a:pt x="0" y="569"/>
                </a:lnTo>
                <a:lnTo>
                  <a:pt x="148" y="828"/>
                </a:lnTo>
                <a:lnTo>
                  <a:pt x="767" y="82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COVER LOGO">
            <a:extLst>
              <a:ext uri="{FF2B5EF4-FFF2-40B4-BE49-F238E27FC236}">
                <a16:creationId xmlns:a16="http://schemas.microsoft.com/office/drawing/2014/main" id="{840BF274-81AD-40E9-B860-3FC626715F7E}"/>
              </a:ext>
            </a:extLst>
          </p:cNvPr>
          <p:cNvSpPr/>
          <p:nvPr/>
        </p:nvSpPr>
        <p:spPr>
          <a:xfrm>
            <a:off x="0" y="2206166"/>
            <a:ext cx="12204700" cy="2372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BEELDMERK">
            <a:extLst>
              <a:ext uri="{FF2B5EF4-FFF2-40B4-BE49-F238E27FC236}">
                <a16:creationId xmlns:a16="http://schemas.microsoft.com/office/drawing/2014/main" id="{35329CF0-B669-45E0-9093-F2F79FD56B63}"/>
              </a:ext>
            </a:extLst>
          </p:cNvPr>
          <p:cNvGrpSpPr>
            <a:grpSpLocks noChangeAspect="1"/>
          </p:cNvGrpSpPr>
          <p:nvPr/>
        </p:nvGrpSpPr>
        <p:grpSpPr>
          <a:xfrm>
            <a:off x="1551251" y="2903970"/>
            <a:ext cx="1195898" cy="1044000"/>
            <a:chOff x="2082508" y="2257641"/>
            <a:chExt cx="2077252" cy="1813407"/>
          </a:xfrm>
          <a:solidFill>
            <a:schemeClr val="tx2"/>
          </a:solidFill>
        </p:grpSpPr>
        <p:sp>
          <p:nvSpPr>
            <p:cNvPr id="24" name="Freeform 5">
              <a:extLst>
                <a:ext uri="{FF2B5EF4-FFF2-40B4-BE49-F238E27FC236}">
                  <a16:creationId xmlns:a16="http://schemas.microsoft.com/office/drawing/2014/main" id="{C7CDB64E-8553-4C52-ACAE-439375CAE4DC}"/>
                </a:ext>
              </a:extLst>
            </p:cNvPr>
            <p:cNvSpPr>
              <a:spLocks/>
            </p:cNvSpPr>
            <p:nvPr userDrawn="1"/>
          </p:nvSpPr>
          <p:spPr bwMode="auto">
            <a:xfrm>
              <a:off x="2082508" y="2257641"/>
              <a:ext cx="1217613" cy="1314451"/>
            </a:xfrm>
            <a:custGeom>
              <a:avLst/>
              <a:gdLst>
                <a:gd name="T0" fmla="*/ 767 w 767"/>
                <a:gd name="T1" fmla="*/ 828 h 828"/>
                <a:gd name="T2" fmla="*/ 638 w 767"/>
                <a:gd name="T3" fmla="*/ 596 h 828"/>
                <a:gd name="T4" fmla="*/ 276 w 767"/>
                <a:gd name="T5" fmla="*/ 596 h 828"/>
                <a:gd name="T6" fmla="*/ 622 w 767"/>
                <a:gd name="T7" fmla="*/ 0 h 828"/>
                <a:gd name="T8" fmla="*/ 327 w 767"/>
                <a:gd name="T9" fmla="*/ 0 h 828"/>
                <a:gd name="T10" fmla="*/ 0 w 767"/>
                <a:gd name="T11" fmla="*/ 569 h 828"/>
                <a:gd name="T12" fmla="*/ 148 w 767"/>
                <a:gd name="T13" fmla="*/ 828 h 828"/>
                <a:gd name="T14" fmla="*/ 767 w 767"/>
                <a:gd name="T15" fmla="*/ 828 h 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 h="828">
                  <a:moveTo>
                    <a:pt x="767" y="828"/>
                  </a:moveTo>
                  <a:lnTo>
                    <a:pt x="638" y="596"/>
                  </a:lnTo>
                  <a:lnTo>
                    <a:pt x="276" y="596"/>
                  </a:lnTo>
                  <a:lnTo>
                    <a:pt x="622" y="0"/>
                  </a:lnTo>
                  <a:lnTo>
                    <a:pt x="327" y="0"/>
                  </a:lnTo>
                  <a:lnTo>
                    <a:pt x="0" y="569"/>
                  </a:lnTo>
                  <a:lnTo>
                    <a:pt x="148" y="828"/>
                  </a:lnTo>
                  <a:lnTo>
                    <a:pt x="767" y="8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
              <a:extLst>
                <a:ext uri="{FF2B5EF4-FFF2-40B4-BE49-F238E27FC236}">
                  <a16:creationId xmlns:a16="http://schemas.microsoft.com/office/drawing/2014/main" id="{8AE5462C-3EE6-4A69-9D43-B035D139C491}"/>
                </a:ext>
              </a:extLst>
            </p:cNvPr>
            <p:cNvSpPr>
              <a:spLocks/>
            </p:cNvSpPr>
            <p:nvPr userDrawn="1"/>
          </p:nvSpPr>
          <p:spPr bwMode="auto">
            <a:xfrm>
              <a:off x="2681796" y="2264735"/>
              <a:ext cx="1477964" cy="1309686"/>
            </a:xfrm>
            <a:custGeom>
              <a:avLst/>
              <a:gdLst>
                <a:gd name="T0" fmla="*/ 309 w 931"/>
                <a:gd name="T1" fmla="*/ 0 h 825"/>
                <a:gd name="T2" fmla="*/ 0 w 931"/>
                <a:gd name="T3" fmla="*/ 539 h 825"/>
                <a:gd name="T4" fmla="*/ 260 w 931"/>
                <a:gd name="T5" fmla="*/ 539 h 825"/>
                <a:gd name="T6" fmla="*/ 437 w 931"/>
                <a:gd name="T7" fmla="*/ 224 h 825"/>
                <a:gd name="T8" fmla="*/ 783 w 931"/>
                <a:gd name="T9" fmla="*/ 825 h 825"/>
                <a:gd name="T10" fmla="*/ 931 w 931"/>
                <a:gd name="T11" fmla="*/ 569 h 825"/>
                <a:gd name="T12" fmla="*/ 604 w 931"/>
                <a:gd name="T13" fmla="*/ 0 h 825"/>
                <a:gd name="T14" fmla="*/ 309 w 931"/>
                <a:gd name="T15" fmla="*/ 0 h 8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825">
                  <a:moveTo>
                    <a:pt x="309" y="0"/>
                  </a:moveTo>
                  <a:lnTo>
                    <a:pt x="0" y="539"/>
                  </a:lnTo>
                  <a:lnTo>
                    <a:pt x="260" y="539"/>
                  </a:lnTo>
                  <a:lnTo>
                    <a:pt x="437" y="224"/>
                  </a:lnTo>
                  <a:lnTo>
                    <a:pt x="783" y="825"/>
                  </a:lnTo>
                  <a:lnTo>
                    <a:pt x="931" y="569"/>
                  </a:lnTo>
                  <a:lnTo>
                    <a:pt x="604" y="0"/>
                  </a:lnTo>
                  <a:lnTo>
                    <a:pt x="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a:extLst>
                <a:ext uri="{FF2B5EF4-FFF2-40B4-BE49-F238E27FC236}">
                  <a16:creationId xmlns:a16="http://schemas.microsoft.com/office/drawing/2014/main" id="{7B4168BA-8032-43AC-89B1-ADA22CBBACD6}"/>
                </a:ext>
              </a:extLst>
            </p:cNvPr>
            <p:cNvSpPr>
              <a:spLocks/>
            </p:cNvSpPr>
            <p:nvPr userDrawn="1"/>
          </p:nvSpPr>
          <p:spPr bwMode="auto">
            <a:xfrm>
              <a:off x="2371171" y="2804222"/>
              <a:ext cx="1503362" cy="1266826"/>
            </a:xfrm>
            <a:custGeom>
              <a:avLst/>
              <a:gdLst>
                <a:gd name="T0" fmla="*/ 633 w 947"/>
                <a:gd name="T1" fmla="*/ 0 h 798"/>
                <a:gd name="T2" fmla="*/ 505 w 947"/>
                <a:gd name="T3" fmla="*/ 229 h 798"/>
                <a:gd name="T4" fmla="*/ 684 w 947"/>
                <a:gd name="T5" fmla="*/ 545 h 798"/>
                <a:gd name="T6" fmla="*/ 0 w 947"/>
                <a:gd name="T7" fmla="*/ 545 h 798"/>
                <a:gd name="T8" fmla="*/ 145 w 947"/>
                <a:gd name="T9" fmla="*/ 798 h 798"/>
                <a:gd name="T10" fmla="*/ 800 w 947"/>
                <a:gd name="T11" fmla="*/ 798 h 798"/>
                <a:gd name="T12" fmla="*/ 947 w 947"/>
                <a:gd name="T13" fmla="*/ 542 h 798"/>
                <a:gd name="T14" fmla="*/ 633 w 947"/>
                <a:gd name="T15" fmla="*/ 0 h 7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7" h="798">
                  <a:moveTo>
                    <a:pt x="633" y="0"/>
                  </a:moveTo>
                  <a:lnTo>
                    <a:pt x="505" y="229"/>
                  </a:lnTo>
                  <a:lnTo>
                    <a:pt x="684" y="545"/>
                  </a:lnTo>
                  <a:lnTo>
                    <a:pt x="0" y="545"/>
                  </a:lnTo>
                  <a:lnTo>
                    <a:pt x="145" y="798"/>
                  </a:lnTo>
                  <a:lnTo>
                    <a:pt x="800" y="798"/>
                  </a:lnTo>
                  <a:lnTo>
                    <a:pt x="947" y="542"/>
                  </a:lnTo>
                  <a:lnTo>
                    <a:pt x="6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6" name="6. Caldic_C">
            <a:extLst>
              <a:ext uri="{FF2B5EF4-FFF2-40B4-BE49-F238E27FC236}">
                <a16:creationId xmlns:a16="http://schemas.microsoft.com/office/drawing/2014/main" id="{41EFB0A6-B0B9-C561-E3CA-4F577D4CB91D}"/>
              </a:ext>
            </a:extLst>
          </p:cNvPr>
          <p:cNvSpPr/>
          <p:nvPr/>
        </p:nvSpPr>
        <p:spPr>
          <a:xfrm>
            <a:off x="5966727" y="2887394"/>
            <a:ext cx="565277" cy="1080000"/>
          </a:xfrm>
          <a:custGeom>
            <a:avLst/>
            <a:gdLst>
              <a:gd name="connsiteX0" fmla="*/ 474730 w 716639"/>
              <a:gd name="connsiteY0" fmla="*/ 1019295 h 1369187"/>
              <a:gd name="connsiteX1" fmla="*/ 472877 w 716639"/>
              <a:gd name="connsiteY1" fmla="*/ 1077900 h 1369187"/>
              <a:gd name="connsiteX2" fmla="*/ 460909 w 716639"/>
              <a:gd name="connsiteY2" fmla="*/ 1129980 h 1369187"/>
              <a:gd name="connsiteX3" fmla="*/ 427669 w 716639"/>
              <a:gd name="connsiteY3" fmla="*/ 1167197 h 1369187"/>
              <a:gd name="connsiteX4" fmla="*/ 362037 w 716639"/>
              <a:gd name="connsiteY4" fmla="*/ 1181134 h 1369187"/>
              <a:gd name="connsiteX5" fmla="*/ 297448 w 716639"/>
              <a:gd name="connsiteY5" fmla="*/ 1169050 h 1369187"/>
              <a:gd name="connsiteX6" fmla="*/ 261467 w 716639"/>
              <a:gd name="connsiteY6" fmla="*/ 1136505 h 1369187"/>
              <a:gd name="connsiteX7" fmla="*/ 245792 w 716639"/>
              <a:gd name="connsiteY7" fmla="*/ 1089057 h 1369187"/>
              <a:gd name="connsiteX8" fmla="*/ 241932 w 716639"/>
              <a:gd name="connsiteY8" fmla="*/ 1032305 h 1369187"/>
              <a:gd name="connsiteX9" fmla="*/ 241932 w 716639"/>
              <a:gd name="connsiteY9" fmla="*/ 329200 h 1369187"/>
              <a:gd name="connsiteX10" fmla="*/ 244711 w 716639"/>
              <a:gd name="connsiteY10" fmla="*/ 281752 h 1369187"/>
              <a:gd name="connsiteX11" fmla="*/ 258532 w 716639"/>
              <a:gd name="connsiteY11" fmla="*/ 235424 h 1369187"/>
              <a:gd name="connsiteX12" fmla="*/ 291773 w 716639"/>
              <a:gd name="connsiteY12" fmla="*/ 200060 h 1369187"/>
              <a:gd name="connsiteX13" fmla="*/ 352695 w 716639"/>
              <a:gd name="connsiteY13" fmla="*/ 186123 h 1369187"/>
              <a:gd name="connsiteX14" fmla="*/ 415392 w 716639"/>
              <a:gd name="connsiteY14" fmla="*/ 196354 h 1369187"/>
              <a:gd name="connsiteX15" fmla="*/ 452300 w 716639"/>
              <a:gd name="connsiteY15" fmla="*/ 226120 h 1369187"/>
              <a:gd name="connsiteX16" fmla="*/ 469828 w 716639"/>
              <a:gd name="connsiteY16" fmla="*/ 274455 h 1369187"/>
              <a:gd name="connsiteX17" fmla="*/ 474460 w 716639"/>
              <a:gd name="connsiteY17" fmla="*/ 340511 h 1369187"/>
              <a:gd name="connsiteX18" fmla="*/ 474460 w 716639"/>
              <a:gd name="connsiteY18" fmla="*/ 490769 h 1369187"/>
              <a:gd name="connsiteX19" fmla="*/ 716292 w 716639"/>
              <a:gd name="connsiteY19" fmla="*/ 490769 h 1369187"/>
              <a:gd name="connsiteX20" fmla="*/ 716292 w 716639"/>
              <a:gd name="connsiteY20" fmla="*/ 304993 h 1369187"/>
              <a:gd name="connsiteX21" fmla="*/ 710694 w 716639"/>
              <a:gd name="connsiteY21" fmla="*/ 217587 h 1369187"/>
              <a:gd name="connsiteX22" fmla="*/ 671625 w 716639"/>
              <a:gd name="connsiteY22" fmla="*/ 117210 h 1369187"/>
              <a:gd name="connsiteX23" fmla="*/ 565610 w 716639"/>
              <a:gd name="connsiteY23" fmla="*/ 34437 h 1369187"/>
              <a:gd name="connsiteX24" fmla="*/ 359142 w 716639"/>
              <a:gd name="connsiteY24" fmla="*/ 0 h 1369187"/>
              <a:gd name="connsiteX25" fmla="*/ 305092 w 716639"/>
              <a:gd name="connsiteY25" fmla="*/ 1892 h 1369187"/>
              <a:gd name="connsiteX26" fmla="*/ 228844 w 716639"/>
              <a:gd name="connsiteY26" fmla="*/ 13976 h 1369187"/>
              <a:gd name="connsiteX27" fmla="*/ 144218 w 716639"/>
              <a:gd name="connsiteY27" fmla="*/ 44861 h 1369187"/>
              <a:gd name="connsiteX28" fmla="*/ 65151 w 716639"/>
              <a:gd name="connsiteY28" fmla="*/ 104393 h 1369187"/>
              <a:gd name="connsiteX29" fmla="*/ 10291 w 716639"/>
              <a:gd name="connsiteY29" fmla="*/ 210407 h 1369187"/>
              <a:gd name="connsiteX30" fmla="*/ 60 w 716639"/>
              <a:gd name="connsiteY30" fmla="*/ 348078 h 1369187"/>
              <a:gd name="connsiteX31" fmla="*/ 60 w 716639"/>
              <a:gd name="connsiteY31" fmla="*/ 1062303 h 1369187"/>
              <a:gd name="connsiteX32" fmla="*/ 1913 w 716639"/>
              <a:gd name="connsiteY32" fmla="*/ 1121834 h 1369187"/>
              <a:gd name="connsiteX33" fmla="*/ 13071 w 716639"/>
              <a:gd name="connsiteY33" fmla="*/ 1186037 h 1369187"/>
              <a:gd name="connsiteX34" fmla="*/ 43956 w 716639"/>
              <a:gd name="connsiteY34" fmla="*/ 1249275 h 1369187"/>
              <a:gd name="connsiteX35" fmla="*/ 104414 w 716639"/>
              <a:gd name="connsiteY35" fmla="*/ 1305988 h 1369187"/>
              <a:gd name="connsiteX36" fmla="*/ 234596 w 716639"/>
              <a:gd name="connsiteY36" fmla="*/ 1356177 h 1369187"/>
              <a:gd name="connsiteX37" fmla="*/ 359257 w 716639"/>
              <a:gd name="connsiteY37" fmla="*/ 1369187 h 1369187"/>
              <a:gd name="connsiteX38" fmla="*/ 565726 w 716639"/>
              <a:gd name="connsiteY38" fmla="*/ 1332009 h 1369187"/>
              <a:gd name="connsiteX39" fmla="*/ 671740 w 716639"/>
              <a:gd name="connsiteY39" fmla="*/ 1241785 h 1369187"/>
              <a:gd name="connsiteX40" fmla="*/ 711042 w 716639"/>
              <a:gd name="connsiteY40" fmla="*/ 1130907 h 1369187"/>
              <a:gd name="connsiteX41" fmla="*/ 716640 w 716639"/>
              <a:gd name="connsiteY41" fmla="*/ 1034197 h 1369187"/>
              <a:gd name="connsiteX42" fmla="*/ 716640 w 716639"/>
              <a:gd name="connsiteY42" fmla="*/ 848151 h 1369187"/>
              <a:gd name="connsiteX43" fmla="*/ 474808 w 716639"/>
              <a:gd name="connsiteY43" fmla="*/ 848151 h 136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6639" h="1369187">
                <a:moveTo>
                  <a:pt x="474730" y="1019295"/>
                </a:moveTo>
                <a:cubicBezTo>
                  <a:pt x="474730" y="1039139"/>
                  <a:pt x="474074" y="1058674"/>
                  <a:pt x="472877" y="1077900"/>
                </a:cubicBezTo>
                <a:cubicBezTo>
                  <a:pt x="471934" y="1095822"/>
                  <a:pt x="467884" y="1113444"/>
                  <a:pt x="460909" y="1129980"/>
                </a:cubicBezTo>
                <a:cubicBezTo>
                  <a:pt x="454035" y="1145583"/>
                  <a:pt x="442400" y="1158611"/>
                  <a:pt x="427669" y="1167197"/>
                </a:cubicBezTo>
                <a:cubicBezTo>
                  <a:pt x="412226" y="1176514"/>
                  <a:pt x="390349" y="1181160"/>
                  <a:pt x="362037" y="1181134"/>
                </a:cubicBezTo>
                <a:cubicBezTo>
                  <a:pt x="334961" y="1181134"/>
                  <a:pt x="313431" y="1177106"/>
                  <a:pt x="297448" y="1169050"/>
                </a:cubicBezTo>
                <a:cubicBezTo>
                  <a:pt x="282529" y="1161955"/>
                  <a:pt x="270018" y="1150640"/>
                  <a:pt x="261467" y="1136505"/>
                </a:cubicBezTo>
                <a:cubicBezTo>
                  <a:pt x="253134" y="1121891"/>
                  <a:pt x="247805" y="1105759"/>
                  <a:pt x="245792" y="1089057"/>
                </a:cubicBezTo>
                <a:cubicBezTo>
                  <a:pt x="243213" y="1070250"/>
                  <a:pt x="241923" y="1051288"/>
                  <a:pt x="241932" y="1032305"/>
                </a:cubicBezTo>
                <a:lnTo>
                  <a:pt x="241932" y="329200"/>
                </a:lnTo>
                <a:cubicBezTo>
                  <a:pt x="241988" y="313345"/>
                  <a:pt x="242916" y="297505"/>
                  <a:pt x="244711" y="281752"/>
                </a:cubicBezTo>
                <a:cubicBezTo>
                  <a:pt x="246399" y="265585"/>
                  <a:pt x="251087" y="249874"/>
                  <a:pt x="258532" y="235424"/>
                </a:cubicBezTo>
                <a:cubicBezTo>
                  <a:pt x="266205" y="220843"/>
                  <a:pt x="277694" y="208620"/>
                  <a:pt x="291773" y="200060"/>
                </a:cubicBezTo>
                <a:cubicBezTo>
                  <a:pt x="306521" y="190743"/>
                  <a:pt x="326828" y="186097"/>
                  <a:pt x="352695" y="186123"/>
                </a:cubicBezTo>
                <a:cubicBezTo>
                  <a:pt x="378561" y="186149"/>
                  <a:pt x="399460" y="189559"/>
                  <a:pt x="415392" y="196354"/>
                </a:cubicBezTo>
                <a:cubicBezTo>
                  <a:pt x="430386" y="202376"/>
                  <a:pt x="443238" y="212741"/>
                  <a:pt x="452300" y="226120"/>
                </a:cubicBezTo>
                <a:cubicBezTo>
                  <a:pt x="461516" y="240800"/>
                  <a:pt x="467492" y="257279"/>
                  <a:pt x="469828" y="274455"/>
                </a:cubicBezTo>
                <a:cubicBezTo>
                  <a:pt x="473104" y="296318"/>
                  <a:pt x="474653" y="318405"/>
                  <a:pt x="474460" y="340511"/>
                </a:cubicBezTo>
                <a:lnTo>
                  <a:pt x="474460" y="490769"/>
                </a:lnTo>
                <a:lnTo>
                  <a:pt x="716292" y="490769"/>
                </a:lnTo>
                <a:lnTo>
                  <a:pt x="716292" y="304993"/>
                </a:lnTo>
                <a:cubicBezTo>
                  <a:pt x="715929" y="275781"/>
                  <a:pt x="714061" y="246607"/>
                  <a:pt x="710694" y="217587"/>
                </a:cubicBezTo>
                <a:cubicBezTo>
                  <a:pt x="706370" y="181363"/>
                  <a:pt x="692927" y="146827"/>
                  <a:pt x="671625" y="117210"/>
                </a:cubicBezTo>
                <a:cubicBezTo>
                  <a:pt x="649310" y="84986"/>
                  <a:pt x="613972" y="57395"/>
                  <a:pt x="565610" y="34437"/>
                </a:cubicBezTo>
                <a:cubicBezTo>
                  <a:pt x="517249" y="11479"/>
                  <a:pt x="448426" y="0"/>
                  <a:pt x="359142" y="0"/>
                </a:cubicBezTo>
                <a:cubicBezTo>
                  <a:pt x="346710" y="0"/>
                  <a:pt x="328694" y="631"/>
                  <a:pt x="305092" y="1892"/>
                </a:cubicBezTo>
                <a:cubicBezTo>
                  <a:pt x="279349" y="3481"/>
                  <a:pt x="253817" y="7527"/>
                  <a:pt x="228844" y="13976"/>
                </a:cubicBezTo>
                <a:cubicBezTo>
                  <a:pt x="199709" y="21530"/>
                  <a:pt x="171370" y="31873"/>
                  <a:pt x="144218" y="44861"/>
                </a:cubicBezTo>
                <a:cubicBezTo>
                  <a:pt x="114137" y="59202"/>
                  <a:pt x="87248" y="79447"/>
                  <a:pt x="65151" y="104393"/>
                </a:cubicBezTo>
                <a:cubicBezTo>
                  <a:pt x="35373" y="136642"/>
                  <a:pt x="17086" y="171980"/>
                  <a:pt x="10291" y="210407"/>
                </a:cubicBezTo>
                <a:cubicBezTo>
                  <a:pt x="2916" y="255916"/>
                  <a:pt x="-507" y="301978"/>
                  <a:pt x="60" y="348078"/>
                </a:cubicBezTo>
                <a:lnTo>
                  <a:pt x="60" y="1062303"/>
                </a:lnTo>
                <a:cubicBezTo>
                  <a:pt x="60" y="1080911"/>
                  <a:pt x="640" y="1100909"/>
                  <a:pt x="1913" y="1121834"/>
                </a:cubicBezTo>
                <a:cubicBezTo>
                  <a:pt x="3234" y="1143583"/>
                  <a:pt x="6975" y="1165118"/>
                  <a:pt x="13071" y="1186037"/>
                </a:cubicBezTo>
                <a:cubicBezTo>
                  <a:pt x="19764" y="1208693"/>
                  <a:pt x="30204" y="1230067"/>
                  <a:pt x="43956" y="1249275"/>
                </a:cubicBezTo>
                <a:cubicBezTo>
                  <a:pt x="60374" y="1271804"/>
                  <a:pt x="80883" y="1291043"/>
                  <a:pt x="104414" y="1305988"/>
                </a:cubicBezTo>
                <a:cubicBezTo>
                  <a:pt x="144022" y="1331242"/>
                  <a:pt x="188287" y="1348307"/>
                  <a:pt x="234596" y="1356177"/>
                </a:cubicBezTo>
                <a:cubicBezTo>
                  <a:pt x="275696" y="1364106"/>
                  <a:pt x="317406" y="1368459"/>
                  <a:pt x="359257" y="1369187"/>
                </a:cubicBezTo>
                <a:cubicBezTo>
                  <a:pt x="448516" y="1369187"/>
                  <a:pt x="517339" y="1356795"/>
                  <a:pt x="565726" y="1332009"/>
                </a:cubicBezTo>
                <a:cubicBezTo>
                  <a:pt x="614113" y="1307224"/>
                  <a:pt x="649451" y="1277149"/>
                  <a:pt x="671740" y="1241785"/>
                </a:cubicBezTo>
                <a:cubicBezTo>
                  <a:pt x="693452" y="1208467"/>
                  <a:pt x="706923" y="1170461"/>
                  <a:pt x="711042" y="1130907"/>
                </a:cubicBezTo>
                <a:cubicBezTo>
                  <a:pt x="714748" y="1092480"/>
                  <a:pt x="716614" y="1060243"/>
                  <a:pt x="716640" y="1034197"/>
                </a:cubicBezTo>
                <a:lnTo>
                  <a:pt x="716640" y="848151"/>
                </a:lnTo>
                <a:lnTo>
                  <a:pt x="474808" y="848151"/>
                </a:lnTo>
                <a:close/>
              </a:path>
            </a:pathLst>
          </a:custGeom>
          <a:solidFill>
            <a:schemeClr val="tx2"/>
          </a:solidFill>
          <a:ln w="3861" cap="flat">
            <a:noFill/>
            <a:prstDash val="solid"/>
            <a:miter/>
          </a:ln>
        </p:spPr>
        <p:txBody>
          <a:bodyPr rtlCol="0" anchor="ctr"/>
          <a:lstStyle/>
          <a:p>
            <a:endParaRPr lang="en-US"/>
          </a:p>
        </p:txBody>
      </p:sp>
      <p:sp>
        <p:nvSpPr>
          <p:cNvPr id="215" name="5. Caldic_I">
            <a:extLst>
              <a:ext uri="{FF2B5EF4-FFF2-40B4-BE49-F238E27FC236}">
                <a16:creationId xmlns:a16="http://schemas.microsoft.com/office/drawing/2014/main" id="{6B7403A7-541A-2589-D6C4-713166E50245}"/>
              </a:ext>
            </a:extLst>
          </p:cNvPr>
          <p:cNvSpPr/>
          <p:nvPr/>
        </p:nvSpPr>
        <p:spPr>
          <a:xfrm>
            <a:off x="5605851" y="2909381"/>
            <a:ext cx="190877" cy="1035874"/>
          </a:xfrm>
          <a:custGeom>
            <a:avLst/>
            <a:gdLst>
              <a:gd name="connsiteX0" fmla="*/ 0 w 241987"/>
              <a:gd name="connsiteY0" fmla="*/ 0 h 1313246"/>
              <a:gd name="connsiteX1" fmla="*/ 241987 w 241987"/>
              <a:gd name="connsiteY1" fmla="*/ 0 h 1313246"/>
              <a:gd name="connsiteX2" fmla="*/ 241987 w 241987"/>
              <a:gd name="connsiteY2" fmla="*/ 1313246 h 1313246"/>
              <a:gd name="connsiteX3" fmla="*/ 193 w 241987"/>
              <a:gd name="connsiteY3" fmla="*/ 1313246 h 1313246"/>
            </a:gdLst>
            <a:ahLst/>
            <a:cxnLst>
              <a:cxn ang="0">
                <a:pos x="connsiteX0" y="connsiteY0"/>
              </a:cxn>
              <a:cxn ang="0">
                <a:pos x="connsiteX1" y="connsiteY1"/>
              </a:cxn>
              <a:cxn ang="0">
                <a:pos x="connsiteX2" y="connsiteY2"/>
              </a:cxn>
              <a:cxn ang="0">
                <a:pos x="connsiteX3" y="connsiteY3"/>
              </a:cxn>
            </a:cxnLst>
            <a:rect l="l" t="t" r="r" b="b"/>
            <a:pathLst>
              <a:path w="241987" h="1313246">
                <a:moveTo>
                  <a:pt x="0" y="0"/>
                </a:moveTo>
                <a:lnTo>
                  <a:pt x="241987" y="0"/>
                </a:lnTo>
                <a:lnTo>
                  <a:pt x="241987" y="1313246"/>
                </a:lnTo>
                <a:lnTo>
                  <a:pt x="193" y="1313246"/>
                </a:lnTo>
                <a:close/>
              </a:path>
            </a:pathLst>
          </a:custGeom>
          <a:solidFill>
            <a:schemeClr val="tx2"/>
          </a:solidFill>
          <a:ln w="3861" cap="flat">
            <a:noFill/>
            <a:prstDash val="solid"/>
            <a:miter/>
          </a:ln>
        </p:spPr>
        <p:txBody>
          <a:bodyPr rtlCol="0" anchor="ctr"/>
          <a:lstStyle/>
          <a:p>
            <a:endParaRPr lang="en-US"/>
          </a:p>
        </p:txBody>
      </p:sp>
      <p:sp>
        <p:nvSpPr>
          <p:cNvPr id="212" name="4. Caldic_D">
            <a:extLst>
              <a:ext uri="{FF2B5EF4-FFF2-40B4-BE49-F238E27FC236}">
                <a16:creationId xmlns:a16="http://schemas.microsoft.com/office/drawing/2014/main" id="{AAB7F754-3EE0-3FEC-AFFF-15157A85B5BB}"/>
              </a:ext>
            </a:extLst>
          </p:cNvPr>
          <p:cNvSpPr/>
          <p:nvPr/>
        </p:nvSpPr>
        <p:spPr>
          <a:xfrm>
            <a:off x="4869782" y="2909381"/>
            <a:ext cx="569294" cy="1035874"/>
          </a:xfrm>
          <a:custGeom>
            <a:avLst/>
            <a:gdLst>
              <a:gd name="connsiteX0" fmla="*/ 0 w 721731"/>
              <a:gd name="connsiteY0" fmla="*/ 0 h 1313246"/>
              <a:gd name="connsiteX1" fmla="*/ 390623 w 721731"/>
              <a:gd name="connsiteY1" fmla="*/ 0 h 1313246"/>
              <a:gd name="connsiteX2" fmla="*/ 452007 w 721731"/>
              <a:gd name="connsiteY2" fmla="*/ 927 h 1313246"/>
              <a:gd name="connsiteX3" fmla="*/ 516172 w 721731"/>
              <a:gd name="connsiteY3" fmla="*/ 10231 h 1313246"/>
              <a:gd name="connsiteX4" fmla="*/ 581262 w 721731"/>
              <a:gd name="connsiteY4" fmla="*/ 35325 h 1313246"/>
              <a:gd name="connsiteX5" fmla="*/ 643574 w 721731"/>
              <a:gd name="connsiteY5" fmla="*/ 81846 h 1313246"/>
              <a:gd name="connsiteX6" fmla="*/ 708704 w 721731"/>
              <a:gd name="connsiteY6" fmla="*/ 201836 h 1313246"/>
              <a:gd name="connsiteX7" fmla="*/ 721714 w 721731"/>
              <a:gd name="connsiteY7" fmla="*/ 345955 h 1313246"/>
              <a:gd name="connsiteX8" fmla="*/ 721714 w 721731"/>
              <a:gd name="connsiteY8" fmla="*/ 959802 h 1313246"/>
              <a:gd name="connsiteX9" fmla="*/ 712410 w 721731"/>
              <a:gd name="connsiteY9" fmla="*/ 1091875 h 1313246"/>
              <a:gd name="connsiteX10" fmla="*/ 669634 w 721731"/>
              <a:gd name="connsiteY10" fmla="*/ 1204414 h 1313246"/>
              <a:gd name="connsiteX11" fmla="*/ 569256 w 721731"/>
              <a:gd name="connsiteY11" fmla="*/ 1283480 h 1313246"/>
              <a:gd name="connsiteX12" fmla="*/ 388847 w 721731"/>
              <a:gd name="connsiteY12" fmla="*/ 1313246 h 1313246"/>
              <a:gd name="connsiteX13" fmla="*/ 77 w 721731"/>
              <a:gd name="connsiteY13" fmla="*/ 1313246 h 1313246"/>
              <a:gd name="connsiteX14" fmla="*/ 241794 w 721731"/>
              <a:gd name="connsiteY14" fmla="*/ 1121641 h 1313246"/>
              <a:gd name="connsiteX15" fmla="*/ 351592 w 721731"/>
              <a:gd name="connsiteY15" fmla="*/ 1121641 h 1313246"/>
              <a:gd name="connsiteX16" fmla="*/ 376531 w 721731"/>
              <a:gd name="connsiteY16" fmla="*/ 1120714 h 1313246"/>
              <a:gd name="connsiteX17" fmla="*/ 393132 w 721731"/>
              <a:gd name="connsiteY17" fmla="*/ 1117935 h 1313246"/>
              <a:gd name="connsiteX18" fmla="*/ 443900 w 721731"/>
              <a:gd name="connsiteY18" fmla="*/ 1097473 h 1313246"/>
              <a:gd name="connsiteX19" fmla="*/ 469728 w 721731"/>
              <a:gd name="connsiteY19" fmla="*/ 1062110 h 1313246"/>
              <a:gd name="connsiteX20" fmla="*/ 478955 w 721731"/>
              <a:gd name="connsiteY20" fmla="*/ 1020260 h 1313246"/>
              <a:gd name="connsiteX21" fmla="*/ 479882 w 721731"/>
              <a:gd name="connsiteY21" fmla="*/ 980263 h 1313246"/>
              <a:gd name="connsiteX22" fmla="*/ 479882 w 721731"/>
              <a:gd name="connsiteY22" fmla="*/ 325455 h 1313246"/>
              <a:gd name="connsiteX23" fmla="*/ 472508 w 721731"/>
              <a:gd name="connsiteY23" fmla="*/ 254766 h 1313246"/>
              <a:gd name="connsiteX24" fmla="*/ 447568 w 721731"/>
              <a:gd name="connsiteY24" fmla="*/ 214769 h 1313246"/>
              <a:gd name="connsiteX25" fmla="*/ 402360 w 721731"/>
              <a:gd name="connsiteY25" fmla="*/ 196161 h 1313246"/>
              <a:gd name="connsiteX26" fmla="*/ 335956 w 721731"/>
              <a:gd name="connsiteY26" fmla="*/ 191528 h 1313246"/>
              <a:gd name="connsiteX27" fmla="*/ 241794 w 721731"/>
              <a:gd name="connsiteY27" fmla="*/ 191528 h 131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21731" h="1313246">
                <a:moveTo>
                  <a:pt x="0" y="0"/>
                </a:moveTo>
                <a:lnTo>
                  <a:pt x="390623" y="0"/>
                </a:lnTo>
                <a:cubicBezTo>
                  <a:pt x="410441" y="0"/>
                  <a:pt x="430903" y="309"/>
                  <a:pt x="452007" y="927"/>
                </a:cubicBezTo>
                <a:cubicBezTo>
                  <a:pt x="473674" y="1642"/>
                  <a:pt x="495194" y="4762"/>
                  <a:pt x="516172" y="10231"/>
                </a:cubicBezTo>
                <a:cubicBezTo>
                  <a:pt x="538740" y="16131"/>
                  <a:pt x="560574" y="24549"/>
                  <a:pt x="581262" y="35325"/>
                </a:cubicBezTo>
                <a:cubicBezTo>
                  <a:pt x="604324" y="47500"/>
                  <a:pt x="625347" y="63196"/>
                  <a:pt x="643574" y="81846"/>
                </a:cubicBezTo>
                <a:cubicBezTo>
                  <a:pt x="678294" y="117879"/>
                  <a:pt x="700004" y="157876"/>
                  <a:pt x="708704" y="201836"/>
                </a:cubicBezTo>
                <a:cubicBezTo>
                  <a:pt x="717685" y="249343"/>
                  <a:pt x="722043" y="297608"/>
                  <a:pt x="721714" y="345955"/>
                </a:cubicBezTo>
                <a:lnTo>
                  <a:pt x="721714" y="959802"/>
                </a:lnTo>
                <a:cubicBezTo>
                  <a:pt x="721823" y="1003994"/>
                  <a:pt x="718713" y="1048135"/>
                  <a:pt x="712410" y="1091875"/>
                </a:cubicBezTo>
                <a:cubicBezTo>
                  <a:pt x="706919" y="1132159"/>
                  <a:pt x="692287" y="1170654"/>
                  <a:pt x="669634" y="1204414"/>
                </a:cubicBezTo>
                <a:cubicBezTo>
                  <a:pt x="647319" y="1237255"/>
                  <a:pt x="613859" y="1263611"/>
                  <a:pt x="569256" y="1283480"/>
                </a:cubicBezTo>
                <a:cubicBezTo>
                  <a:pt x="524653" y="1303350"/>
                  <a:pt x="464516" y="1313272"/>
                  <a:pt x="388847" y="1313246"/>
                </a:cubicBezTo>
                <a:lnTo>
                  <a:pt x="77" y="1313246"/>
                </a:lnTo>
                <a:close/>
                <a:moveTo>
                  <a:pt x="241794" y="1121641"/>
                </a:moveTo>
                <a:lnTo>
                  <a:pt x="351592" y="1121641"/>
                </a:lnTo>
                <a:cubicBezTo>
                  <a:pt x="362067" y="1121641"/>
                  <a:pt x="370380" y="1121332"/>
                  <a:pt x="376531" y="1120714"/>
                </a:cubicBezTo>
                <a:cubicBezTo>
                  <a:pt x="382124" y="1120188"/>
                  <a:pt x="387673" y="1119259"/>
                  <a:pt x="393132" y="1117935"/>
                </a:cubicBezTo>
                <a:cubicBezTo>
                  <a:pt x="415293" y="1114203"/>
                  <a:pt x="432215" y="1107382"/>
                  <a:pt x="443900" y="1097473"/>
                </a:cubicBezTo>
                <a:cubicBezTo>
                  <a:pt x="455274" y="1087977"/>
                  <a:pt x="464142" y="1075833"/>
                  <a:pt x="469728" y="1062110"/>
                </a:cubicBezTo>
                <a:cubicBezTo>
                  <a:pt x="475187" y="1048794"/>
                  <a:pt x="478309" y="1034636"/>
                  <a:pt x="478955" y="1020260"/>
                </a:cubicBezTo>
                <a:cubicBezTo>
                  <a:pt x="479572" y="1006001"/>
                  <a:pt x="479882" y="992669"/>
                  <a:pt x="479882" y="980263"/>
                </a:cubicBezTo>
                <a:lnTo>
                  <a:pt x="479882" y="325455"/>
                </a:lnTo>
                <a:cubicBezTo>
                  <a:pt x="479882" y="295676"/>
                  <a:pt x="477423" y="272113"/>
                  <a:pt x="472508" y="254766"/>
                </a:cubicBezTo>
                <a:cubicBezTo>
                  <a:pt x="468662" y="239119"/>
                  <a:pt x="459925" y="225108"/>
                  <a:pt x="447568" y="214769"/>
                </a:cubicBezTo>
                <a:cubicBezTo>
                  <a:pt x="434330" y="204817"/>
                  <a:pt x="418768" y="198411"/>
                  <a:pt x="402360" y="196161"/>
                </a:cubicBezTo>
                <a:cubicBezTo>
                  <a:pt x="380387" y="192816"/>
                  <a:pt x="358180" y="191266"/>
                  <a:pt x="335956" y="191528"/>
                </a:cubicBezTo>
                <a:lnTo>
                  <a:pt x="241794" y="191528"/>
                </a:lnTo>
                <a:close/>
              </a:path>
            </a:pathLst>
          </a:custGeom>
          <a:solidFill>
            <a:schemeClr val="tx2"/>
          </a:solidFill>
          <a:ln w="3861" cap="flat">
            <a:noFill/>
            <a:prstDash val="solid"/>
            <a:miter/>
          </a:ln>
        </p:spPr>
        <p:txBody>
          <a:bodyPr rtlCol="0" anchor="ctr"/>
          <a:lstStyle/>
          <a:p>
            <a:endParaRPr lang="en-US"/>
          </a:p>
        </p:txBody>
      </p:sp>
      <p:sp>
        <p:nvSpPr>
          <p:cNvPr id="211" name="3. Caldic_L">
            <a:extLst>
              <a:ext uri="{FF2B5EF4-FFF2-40B4-BE49-F238E27FC236}">
                <a16:creationId xmlns:a16="http://schemas.microsoft.com/office/drawing/2014/main" id="{42916569-614F-2C16-8DB0-25EDFE3DC124}"/>
              </a:ext>
            </a:extLst>
          </p:cNvPr>
          <p:cNvSpPr/>
          <p:nvPr/>
        </p:nvSpPr>
        <p:spPr>
          <a:xfrm>
            <a:off x="4353702" y="2909381"/>
            <a:ext cx="435319" cy="1035874"/>
          </a:xfrm>
          <a:custGeom>
            <a:avLst/>
            <a:gdLst>
              <a:gd name="connsiteX0" fmla="*/ 0 w 551882"/>
              <a:gd name="connsiteY0" fmla="*/ 0 h 1313246"/>
              <a:gd name="connsiteX1" fmla="*/ 241794 w 551882"/>
              <a:gd name="connsiteY1" fmla="*/ 0 h 1313246"/>
              <a:gd name="connsiteX2" fmla="*/ 241794 w 551882"/>
              <a:gd name="connsiteY2" fmla="*/ 1114190 h 1313246"/>
              <a:gd name="connsiteX3" fmla="*/ 551883 w 551882"/>
              <a:gd name="connsiteY3" fmla="*/ 1114190 h 1313246"/>
              <a:gd name="connsiteX4" fmla="*/ 551883 w 551882"/>
              <a:gd name="connsiteY4" fmla="*/ 1313246 h 1313246"/>
              <a:gd name="connsiteX5" fmla="*/ 0 w 551882"/>
              <a:gd name="connsiteY5" fmla="*/ 1313246 h 131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1882" h="1313246">
                <a:moveTo>
                  <a:pt x="0" y="0"/>
                </a:moveTo>
                <a:lnTo>
                  <a:pt x="241794" y="0"/>
                </a:lnTo>
                <a:lnTo>
                  <a:pt x="241794" y="1114190"/>
                </a:lnTo>
                <a:lnTo>
                  <a:pt x="551883" y="1114190"/>
                </a:lnTo>
                <a:lnTo>
                  <a:pt x="551883" y="1313246"/>
                </a:lnTo>
                <a:lnTo>
                  <a:pt x="0" y="1313246"/>
                </a:lnTo>
                <a:close/>
              </a:path>
            </a:pathLst>
          </a:custGeom>
          <a:solidFill>
            <a:schemeClr val="tx2"/>
          </a:solidFill>
          <a:ln w="3861" cap="flat">
            <a:noFill/>
            <a:prstDash val="solid"/>
            <a:miter/>
          </a:ln>
        </p:spPr>
        <p:txBody>
          <a:bodyPr rtlCol="0" anchor="ctr"/>
          <a:lstStyle/>
          <a:p>
            <a:endParaRPr lang="en-US"/>
          </a:p>
        </p:txBody>
      </p:sp>
      <p:sp>
        <p:nvSpPr>
          <p:cNvPr id="213" name="2. Caldic_A">
            <a:extLst>
              <a:ext uri="{FF2B5EF4-FFF2-40B4-BE49-F238E27FC236}">
                <a16:creationId xmlns:a16="http://schemas.microsoft.com/office/drawing/2014/main" id="{28925101-2587-0C1A-A5F6-7F250148B530}"/>
              </a:ext>
            </a:extLst>
          </p:cNvPr>
          <p:cNvSpPr/>
          <p:nvPr/>
        </p:nvSpPr>
        <p:spPr>
          <a:xfrm>
            <a:off x="3639163" y="2909381"/>
            <a:ext cx="613284" cy="1035874"/>
          </a:xfrm>
          <a:custGeom>
            <a:avLst/>
            <a:gdLst>
              <a:gd name="connsiteX0" fmla="*/ 254843 w 777500"/>
              <a:gd name="connsiteY0" fmla="*/ 0 h 1313246"/>
              <a:gd name="connsiteX1" fmla="*/ 532000 w 777500"/>
              <a:gd name="connsiteY1" fmla="*/ 0 h 1313246"/>
              <a:gd name="connsiteX2" fmla="*/ 777501 w 777500"/>
              <a:gd name="connsiteY2" fmla="*/ 1313246 h 1313246"/>
              <a:gd name="connsiteX3" fmla="*/ 537097 w 777500"/>
              <a:gd name="connsiteY3" fmla="*/ 1313246 h 1313246"/>
              <a:gd name="connsiteX4" fmla="*/ 505478 w 777500"/>
              <a:gd name="connsiteY4" fmla="*/ 1099326 h 1313246"/>
              <a:gd name="connsiteX5" fmla="*/ 272177 w 777500"/>
              <a:gd name="connsiteY5" fmla="*/ 1099326 h 1313246"/>
              <a:gd name="connsiteX6" fmla="*/ 236814 w 777500"/>
              <a:gd name="connsiteY6" fmla="*/ 1313246 h 1313246"/>
              <a:gd name="connsiteX7" fmla="*/ 0 w 777500"/>
              <a:gd name="connsiteY7" fmla="*/ 1313246 h 1313246"/>
              <a:gd name="connsiteX8" fmla="*/ 300283 w 777500"/>
              <a:gd name="connsiteY8" fmla="*/ 902509 h 1313246"/>
              <a:gd name="connsiteX9" fmla="*/ 480963 w 777500"/>
              <a:gd name="connsiteY9" fmla="*/ 902509 h 1313246"/>
              <a:gd name="connsiteX10" fmla="*/ 394329 w 777500"/>
              <a:gd name="connsiteY10" fmla="*/ 332944 h 131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500" h="1313246">
                <a:moveTo>
                  <a:pt x="254843" y="0"/>
                </a:moveTo>
                <a:lnTo>
                  <a:pt x="532000" y="0"/>
                </a:lnTo>
                <a:lnTo>
                  <a:pt x="777501" y="1313246"/>
                </a:lnTo>
                <a:lnTo>
                  <a:pt x="537097" y="1313246"/>
                </a:lnTo>
                <a:lnTo>
                  <a:pt x="505478" y="1099326"/>
                </a:lnTo>
                <a:lnTo>
                  <a:pt x="272177" y="1099326"/>
                </a:lnTo>
                <a:lnTo>
                  <a:pt x="236814" y="1313246"/>
                </a:lnTo>
                <a:lnTo>
                  <a:pt x="0" y="1313246"/>
                </a:lnTo>
                <a:close/>
                <a:moveTo>
                  <a:pt x="300283" y="902509"/>
                </a:moveTo>
                <a:lnTo>
                  <a:pt x="480963" y="902509"/>
                </a:lnTo>
                <a:lnTo>
                  <a:pt x="394329" y="332944"/>
                </a:lnTo>
                <a:close/>
              </a:path>
            </a:pathLst>
          </a:custGeom>
          <a:solidFill>
            <a:schemeClr val="tx2"/>
          </a:solidFill>
          <a:ln w="3861" cap="flat">
            <a:noFill/>
            <a:prstDash val="solid"/>
            <a:miter/>
          </a:ln>
        </p:spPr>
        <p:txBody>
          <a:bodyPr rtlCol="0" anchor="ctr"/>
          <a:lstStyle/>
          <a:p>
            <a:endParaRPr lang="en-US"/>
          </a:p>
        </p:txBody>
      </p:sp>
      <p:sp>
        <p:nvSpPr>
          <p:cNvPr id="214" name="1. Caldic_C">
            <a:extLst>
              <a:ext uri="{FF2B5EF4-FFF2-40B4-BE49-F238E27FC236}">
                <a16:creationId xmlns:a16="http://schemas.microsoft.com/office/drawing/2014/main" id="{738BAB5A-DA67-D278-AC23-86D16F2CD2E4}"/>
              </a:ext>
            </a:extLst>
          </p:cNvPr>
          <p:cNvSpPr/>
          <p:nvPr/>
        </p:nvSpPr>
        <p:spPr>
          <a:xfrm>
            <a:off x="3003753" y="2887394"/>
            <a:ext cx="564973" cy="1079787"/>
          </a:xfrm>
          <a:custGeom>
            <a:avLst/>
            <a:gdLst>
              <a:gd name="connsiteX0" fmla="*/ 474421 w 716253"/>
              <a:gd name="connsiteY0" fmla="*/ 1019295 h 1368917"/>
              <a:gd name="connsiteX1" fmla="*/ 472529 w 716253"/>
              <a:gd name="connsiteY1" fmla="*/ 1077900 h 1368917"/>
              <a:gd name="connsiteX2" fmla="*/ 460561 w 716253"/>
              <a:gd name="connsiteY2" fmla="*/ 1129980 h 1368917"/>
              <a:gd name="connsiteX3" fmla="*/ 427360 w 716253"/>
              <a:gd name="connsiteY3" fmla="*/ 1167197 h 1368917"/>
              <a:gd name="connsiteX4" fmla="*/ 361728 w 716253"/>
              <a:gd name="connsiteY4" fmla="*/ 1181134 h 1368917"/>
              <a:gd name="connsiteX5" fmla="*/ 297101 w 716253"/>
              <a:gd name="connsiteY5" fmla="*/ 1169050 h 1368917"/>
              <a:gd name="connsiteX6" fmla="*/ 261119 w 716253"/>
              <a:gd name="connsiteY6" fmla="*/ 1136505 h 1368917"/>
              <a:gd name="connsiteX7" fmla="*/ 245445 w 716253"/>
              <a:gd name="connsiteY7" fmla="*/ 1089057 h 1368917"/>
              <a:gd name="connsiteX8" fmla="*/ 241584 w 716253"/>
              <a:gd name="connsiteY8" fmla="*/ 1032305 h 1368917"/>
              <a:gd name="connsiteX9" fmla="*/ 241584 w 716253"/>
              <a:gd name="connsiteY9" fmla="*/ 329200 h 1368917"/>
              <a:gd name="connsiteX10" fmla="*/ 244325 w 716253"/>
              <a:gd name="connsiteY10" fmla="*/ 281752 h 1368917"/>
              <a:gd name="connsiteX11" fmla="*/ 258185 w 716253"/>
              <a:gd name="connsiteY11" fmla="*/ 235424 h 1368917"/>
              <a:gd name="connsiteX12" fmla="*/ 291387 w 716253"/>
              <a:gd name="connsiteY12" fmla="*/ 200060 h 1368917"/>
              <a:gd name="connsiteX13" fmla="*/ 352308 w 716253"/>
              <a:gd name="connsiteY13" fmla="*/ 186123 h 1368917"/>
              <a:gd name="connsiteX14" fmla="*/ 415044 w 716253"/>
              <a:gd name="connsiteY14" fmla="*/ 196354 h 1368917"/>
              <a:gd name="connsiteX15" fmla="*/ 452300 w 716253"/>
              <a:gd name="connsiteY15" fmla="*/ 225927 h 1368917"/>
              <a:gd name="connsiteX16" fmla="*/ 469827 w 716253"/>
              <a:gd name="connsiteY16" fmla="*/ 274262 h 1368917"/>
              <a:gd name="connsiteX17" fmla="*/ 474460 w 716253"/>
              <a:gd name="connsiteY17" fmla="*/ 340318 h 1368917"/>
              <a:gd name="connsiteX18" fmla="*/ 474460 w 716253"/>
              <a:gd name="connsiteY18" fmla="*/ 490576 h 1368917"/>
              <a:gd name="connsiteX19" fmla="*/ 716254 w 716253"/>
              <a:gd name="connsiteY19" fmla="*/ 490576 h 1368917"/>
              <a:gd name="connsiteX20" fmla="*/ 716254 w 716253"/>
              <a:gd name="connsiteY20" fmla="*/ 304993 h 1368917"/>
              <a:gd name="connsiteX21" fmla="*/ 710694 w 716253"/>
              <a:gd name="connsiteY21" fmla="*/ 217587 h 1368917"/>
              <a:gd name="connsiteX22" fmla="*/ 671624 w 716253"/>
              <a:gd name="connsiteY22" fmla="*/ 117210 h 1368917"/>
              <a:gd name="connsiteX23" fmla="*/ 565572 w 716253"/>
              <a:gd name="connsiteY23" fmla="*/ 34437 h 1368917"/>
              <a:gd name="connsiteX24" fmla="*/ 359103 w 716253"/>
              <a:gd name="connsiteY24" fmla="*/ 0 h 1368917"/>
              <a:gd name="connsiteX25" fmla="*/ 305054 w 716253"/>
              <a:gd name="connsiteY25" fmla="*/ 1892 h 1368917"/>
              <a:gd name="connsiteX26" fmla="*/ 228805 w 716253"/>
              <a:gd name="connsiteY26" fmla="*/ 13976 h 1368917"/>
              <a:gd name="connsiteX27" fmla="*/ 144141 w 716253"/>
              <a:gd name="connsiteY27" fmla="*/ 44861 h 1368917"/>
              <a:gd name="connsiteX28" fmla="*/ 65113 w 716253"/>
              <a:gd name="connsiteY28" fmla="*/ 104393 h 1368917"/>
              <a:gd name="connsiteX29" fmla="*/ 10291 w 716253"/>
              <a:gd name="connsiteY29" fmla="*/ 210136 h 1368917"/>
              <a:gd name="connsiteX30" fmla="*/ 60 w 716253"/>
              <a:gd name="connsiteY30" fmla="*/ 347808 h 1368917"/>
              <a:gd name="connsiteX31" fmla="*/ 60 w 716253"/>
              <a:gd name="connsiteY31" fmla="*/ 1062032 h 1368917"/>
              <a:gd name="connsiteX32" fmla="*/ 1914 w 716253"/>
              <a:gd name="connsiteY32" fmla="*/ 1121564 h 1368917"/>
              <a:gd name="connsiteX33" fmla="*/ 13071 w 716253"/>
              <a:gd name="connsiteY33" fmla="*/ 1185767 h 1368917"/>
              <a:gd name="connsiteX34" fmla="*/ 43764 w 716253"/>
              <a:gd name="connsiteY34" fmla="*/ 1249005 h 1368917"/>
              <a:gd name="connsiteX35" fmla="*/ 104222 w 716253"/>
              <a:gd name="connsiteY35" fmla="*/ 1305718 h 1368917"/>
              <a:gd name="connsiteX36" fmla="*/ 234442 w 716253"/>
              <a:gd name="connsiteY36" fmla="*/ 1355907 h 1368917"/>
              <a:gd name="connsiteX37" fmla="*/ 359065 w 716253"/>
              <a:gd name="connsiteY37" fmla="*/ 1368917 h 1368917"/>
              <a:gd name="connsiteX38" fmla="*/ 565533 w 716253"/>
              <a:gd name="connsiteY38" fmla="*/ 1331739 h 1368917"/>
              <a:gd name="connsiteX39" fmla="*/ 671586 w 716253"/>
              <a:gd name="connsiteY39" fmla="*/ 1241515 h 1368917"/>
              <a:gd name="connsiteX40" fmla="*/ 710656 w 716253"/>
              <a:gd name="connsiteY40" fmla="*/ 1130829 h 1368917"/>
              <a:gd name="connsiteX41" fmla="*/ 716215 w 716253"/>
              <a:gd name="connsiteY41" fmla="*/ 1034120 h 1368917"/>
              <a:gd name="connsiteX42" fmla="*/ 716215 w 716253"/>
              <a:gd name="connsiteY42" fmla="*/ 848151 h 1368917"/>
              <a:gd name="connsiteX43" fmla="*/ 474421 w 716253"/>
              <a:gd name="connsiteY43" fmla="*/ 848151 h 136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6253" h="1368917">
                <a:moveTo>
                  <a:pt x="474421" y="1019295"/>
                </a:moveTo>
                <a:cubicBezTo>
                  <a:pt x="474421" y="1039139"/>
                  <a:pt x="473791" y="1058674"/>
                  <a:pt x="472529" y="1077900"/>
                </a:cubicBezTo>
                <a:cubicBezTo>
                  <a:pt x="471623" y="1095827"/>
                  <a:pt x="467572" y="1113455"/>
                  <a:pt x="460561" y="1129980"/>
                </a:cubicBezTo>
                <a:cubicBezTo>
                  <a:pt x="453716" y="1145589"/>
                  <a:pt x="442090" y="1158621"/>
                  <a:pt x="427360" y="1167197"/>
                </a:cubicBezTo>
                <a:cubicBezTo>
                  <a:pt x="411917" y="1176514"/>
                  <a:pt x="390040" y="1181160"/>
                  <a:pt x="361728" y="1181134"/>
                </a:cubicBezTo>
                <a:cubicBezTo>
                  <a:pt x="334626" y="1181134"/>
                  <a:pt x="313084" y="1177106"/>
                  <a:pt x="297101" y="1169050"/>
                </a:cubicBezTo>
                <a:cubicBezTo>
                  <a:pt x="282181" y="1161955"/>
                  <a:pt x="269671" y="1150640"/>
                  <a:pt x="261119" y="1136505"/>
                </a:cubicBezTo>
                <a:cubicBezTo>
                  <a:pt x="252803" y="1121883"/>
                  <a:pt x="247475" y="1105755"/>
                  <a:pt x="245445" y="1089057"/>
                </a:cubicBezTo>
                <a:cubicBezTo>
                  <a:pt x="242866" y="1070250"/>
                  <a:pt x="241576" y="1051288"/>
                  <a:pt x="241584" y="1032305"/>
                </a:cubicBezTo>
                <a:lnTo>
                  <a:pt x="241584" y="329200"/>
                </a:lnTo>
                <a:cubicBezTo>
                  <a:pt x="241626" y="313345"/>
                  <a:pt x="242541" y="297505"/>
                  <a:pt x="244325" y="281752"/>
                </a:cubicBezTo>
                <a:cubicBezTo>
                  <a:pt x="246027" y="265582"/>
                  <a:pt x="250727" y="249871"/>
                  <a:pt x="258185" y="235424"/>
                </a:cubicBezTo>
                <a:cubicBezTo>
                  <a:pt x="265855" y="220853"/>
                  <a:pt x="277329" y="208633"/>
                  <a:pt x="291387" y="200060"/>
                </a:cubicBezTo>
                <a:cubicBezTo>
                  <a:pt x="306186" y="190743"/>
                  <a:pt x="326493" y="186097"/>
                  <a:pt x="352308" y="186123"/>
                </a:cubicBezTo>
                <a:cubicBezTo>
                  <a:pt x="378123" y="186149"/>
                  <a:pt x="399035" y="189559"/>
                  <a:pt x="415044" y="196354"/>
                </a:cubicBezTo>
                <a:cubicBezTo>
                  <a:pt x="430140" y="202265"/>
                  <a:pt x="443117" y="212566"/>
                  <a:pt x="452300" y="225927"/>
                </a:cubicBezTo>
                <a:cubicBezTo>
                  <a:pt x="461516" y="240607"/>
                  <a:pt x="467492" y="257086"/>
                  <a:pt x="469827" y="274262"/>
                </a:cubicBezTo>
                <a:cubicBezTo>
                  <a:pt x="473104" y="296125"/>
                  <a:pt x="474653" y="318212"/>
                  <a:pt x="474460" y="340318"/>
                </a:cubicBezTo>
                <a:lnTo>
                  <a:pt x="474460" y="490576"/>
                </a:lnTo>
                <a:lnTo>
                  <a:pt x="716254" y="490576"/>
                </a:lnTo>
                <a:lnTo>
                  <a:pt x="716254" y="304993"/>
                </a:lnTo>
                <a:cubicBezTo>
                  <a:pt x="715906" y="275782"/>
                  <a:pt x="714050" y="246608"/>
                  <a:pt x="710694" y="217587"/>
                </a:cubicBezTo>
                <a:cubicBezTo>
                  <a:pt x="706348" y="181368"/>
                  <a:pt x="692908" y="146837"/>
                  <a:pt x="671624" y="117210"/>
                </a:cubicBezTo>
                <a:cubicBezTo>
                  <a:pt x="649310" y="84986"/>
                  <a:pt x="613959" y="57395"/>
                  <a:pt x="565572" y="34437"/>
                </a:cubicBezTo>
                <a:cubicBezTo>
                  <a:pt x="517185" y="11479"/>
                  <a:pt x="448362" y="0"/>
                  <a:pt x="359103" y="0"/>
                </a:cubicBezTo>
                <a:cubicBezTo>
                  <a:pt x="346697" y="0"/>
                  <a:pt x="328681" y="631"/>
                  <a:pt x="305054" y="1892"/>
                </a:cubicBezTo>
                <a:cubicBezTo>
                  <a:pt x="279310" y="3478"/>
                  <a:pt x="253778" y="7524"/>
                  <a:pt x="228805" y="13976"/>
                </a:cubicBezTo>
                <a:cubicBezTo>
                  <a:pt x="199660" y="21536"/>
                  <a:pt x="171308" y="31879"/>
                  <a:pt x="144141" y="44861"/>
                </a:cubicBezTo>
                <a:cubicBezTo>
                  <a:pt x="114065" y="59193"/>
                  <a:pt x="87187" y="79440"/>
                  <a:pt x="65113" y="104393"/>
                </a:cubicBezTo>
                <a:cubicBezTo>
                  <a:pt x="35411" y="136513"/>
                  <a:pt x="17138" y="171761"/>
                  <a:pt x="10291" y="210136"/>
                </a:cubicBezTo>
                <a:cubicBezTo>
                  <a:pt x="2916" y="255646"/>
                  <a:pt x="-507" y="301708"/>
                  <a:pt x="60" y="347808"/>
                </a:cubicBezTo>
                <a:lnTo>
                  <a:pt x="60" y="1062032"/>
                </a:lnTo>
                <a:cubicBezTo>
                  <a:pt x="60" y="1080641"/>
                  <a:pt x="678" y="1100485"/>
                  <a:pt x="1914" y="1121564"/>
                </a:cubicBezTo>
                <a:cubicBezTo>
                  <a:pt x="3253" y="1143311"/>
                  <a:pt x="6995" y="1164843"/>
                  <a:pt x="13071" y="1185767"/>
                </a:cubicBezTo>
                <a:cubicBezTo>
                  <a:pt x="19737" y="1208397"/>
                  <a:pt x="30108" y="1229766"/>
                  <a:pt x="43764" y="1249005"/>
                </a:cubicBezTo>
                <a:cubicBezTo>
                  <a:pt x="60191" y="1271525"/>
                  <a:pt x="80699" y="1290762"/>
                  <a:pt x="104222" y="1305718"/>
                </a:cubicBezTo>
                <a:cubicBezTo>
                  <a:pt x="143843" y="1330971"/>
                  <a:pt x="188120" y="1348036"/>
                  <a:pt x="234442" y="1355907"/>
                </a:cubicBezTo>
                <a:cubicBezTo>
                  <a:pt x="275529" y="1363834"/>
                  <a:pt x="317226" y="1368187"/>
                  <a:pt x="359065" y="1368917"/>
                </a:cubicBezTo>
                <a:cubicBezTo>
                  <a:pt x="448375" y="1368917"/>
                  <a:pt x="517197" y="1356524"/>
                  <a:pt x="565533" y="1331739"/>
                </a:cubicBezTo>
                <a:cubicBezTo>
                  <a:pt x="613869" y="1306953"/>
                  <a:pt x="649220" y="1276879"/>
                  <a:pt x="671586" y="1241515"/>
                </a:cubicBezTo>
                <a:cubicBezTo>
                  <a:pt x="693176" y="1208227"/>
                  <a:pt x="706566" y="1170294"/>
                  <a:pt x="710656" y="1130829"/>
                </a:cubicBezTo>
                <a:cubicBezTo>
                  <a:pt x="714362" y="1092403"/>
                  <a:pt x="716215" y="1060166"/>
                  <a:pt x="716215" y="1034120"/>
                </a:cubicBezTo>
                <a:lnTo>
                  <a:pt x="716215" y="848151"/>
                </a:lnTo>
                <a:lnTo>
                  <a:pt x="474421" y="848151"/>
                </a:lnTo>
                <a:close/>
              </a:path>
            </a:pathLst>
          </a:custGeom>
          <a:solidFill>
            <a:schemeClr val="tx2"/>
          </a:solidFill>
          <a:ln w="3861" cap="flat">
            <a:noFill/>
            <a:prstDash val="solid"/>
            <a:miter/>
          </a:ln>
        </p:spPr>
        <p:txBody>
          <a:bodyPr rtlCol="0" anchor="ctr"/>
          <a:lstStyle/>
          <a:p>
            <a:endParaRPr lang="en-US"/>
          </a:p>
        </p:txBody>
      </p:sp>
      <p:grpSp>
        <p:nvGrpSpPr>
          <p:cNvPr id="196" name="Tagline">
            <a:extLst>
              <a:ext uri="{FF2B5EF4-FFF2-40B4-BE49-F238E27FC236}">
                <a16:creationId xmlns:a16="http://schemas.microsoft.com/office/drawing/2014/main" id="{3FF7CA94-3813-A8A8-BBD3-CA0C75576C08}"/>
              </a:ext>
            </a:extLst>
          </p:cNvPr>
          <p:cNvGrpSpPr/>
          <p:nvPr/>
        </p:nvGrpSpPr>
        <p:grpSpPr>
          <a:xfrm>
            <a:off x="6884882" y="3636645"/>
            <a:ext cx="3758524" cy="311379"/>
            <a:chOff x="7093317" y="7149858"/>
            <a:chExt cx="4764927" cy="394755"/>
          </a:xfrm>
          <a:solidFill>
            <a:schemeClr val="tx2"/>
          </a:solidFill>
        </p:grpSpPr>
        <p:sp>
          <p:nvSpPr>
            <p:cNvPr id="197" name="Freeform: Shape 196">
              <a:extLst>
                <a:ext uri="{FF2B5EF4-FFF2-40B4-BE49-F238E27FC236}">
                  <a16:creationId xmlns:a16="http://schemas.microsoft.com/office/drawing/2014/main" id="{7623BB7E-04D9-AF60-1F31-B6FCF8B77D05}"/>
                </a:ext>
              </a:extLst>
            </p:cNvPr>
            <p:cNvSpPr/>
            <p:nvPr/>
          </p:nvSpPr>
          <p:spPr>
            <a:xfrm>
              <a:off x="7093317" y="7149858"/>
              <a:ext cx="278943" cy="391019"/>
            </a:xfrm>
            <a:custGeom>
              <a:avLst/>
              <a:gdLst>
                <a:gd name="connsiteX0" fmla="*/ 189144 w 278943"/>
                <a:gd name="connsiteY0" fmla="*/ 390936 h 391019"/>
                <a:gd name="connsiteX1" fmla="*/ 13407 w 278943"/>
                <a:gd name="connsiteY1" fmla="*/ 390936 h 391019"/>
                <a:gd name="connsiteX2" fmla="*/ 83 w 278943"/>
                <a:gd name="connsiteY2" fmla="*/ 380410 h 391019"/>
                <a:gd name="connsiteX3" fmla="*/ 87 w 278943"/>
                <a:gd name="connsiteY3" fmla="*/ 377578 h 391019"/>
                <a:gd name="connsiteX4" fmla="*/ 87 w 278943"/>
                <a:gd name="connsiteY4" fmla="*/ 13440 h 391019"/>
                <a:gd name="connsiteX5" fmla="*/ 10575 w 278943"/>
                <a:gd name="connsiteY5" fmla="*/ 86 h 391019"/>
                <a:gd name="connsiteX6" fmla="*/ 13406 w 278943"/>
                <a:gd name="connsiteY6" fmla="*/ 82 h 391019"/>
                <a:gd name="connsiteX7" fmla="*/ 175555 w 278943"/>
                <a:gd name="connsiteY7" fmla="*/ 82 h 391019"/>
                <a:gd name="connsiteX8" fmla="*/ 226593 w 278943"/>
                <a:gd name="connsiteY8" fmla="*/ 18652 h 391019"/>
                <a:gd name="connsiteX9" fmla="*/ 245356 w 278943"/>
                <a:gd name="connsiteY9" fmla="*/ 37414 h 391019"/>
                <a:gd name="connsiteX10" fmla="*/ 265161 w 278943"/>
                <a:gd name="connsiteY10" fmla="*/ 89109 h 391019"/>
                <a:gd name="connsiteX11" fmla="*/ 265161 w 278943"/>
                <a:gd name="connsiteY11" fmla="*/ 124125 h 391019"/>
                <a:gd name="connsiteX12" fmla="*/ 245356 w 278943"/>
                <a:gd name="connsiteY12" fmla="*/ 176437 h 391019"/>
                <a:gd name="connsiteX13" fmla="*/ 233272 w 278943"/>
                <a:gd name="connsiteY13" fmla="*/ 188560 h 391019"/>
                <a:gd name="connsiteX14" fmla="*/ 259138 w 278943"/>
                <a:gd name="connsiteY14" fmla="*/ 214426 h 391019"/>
                <a:gd name="connsiteX15" fmla="*/ 278943 w 278943"/>
                <a:gd name="connsiteY15" fmla="*/ 266738 h 391019"/>
                <a:gd name="connsiteX16" fmla="*/ 278943 w 278943"/>
                <a:gd name="connsiteY16" fmla="*/ 301755 h 391019"/>
                <a:gd name="connsiteX17" fmla="*/ 259138 w 278943"/>
                <a:gd name="connsiteY17" fmla="*/ 353449 h 391019"/>
                <a:gd name="connsiteX18" fmla="*/ 240375 w 278943"/>
                <a:gd name="connsiteY18" fmla="*/ 372212 h 391019"/>
                <a:gd name="connsiteX19" fmla="*/ 189144 w 278943"/>
                <a:gd name="connsiteY19" fmla="*/ 390936 h 391019"/>
                <a:gd name="connsiteX20" fmla="*/ 48616 w 278943"/>
                <a:gd name="connsiteY20" fmla="*/ 349859 h 391019"/>
                <a:gd name="connsiteX21" fmla="*/ 181037 w 278943"/>
                <a:gd name="connsiteY21" fmla="*/ 349859 h 391019"/>
                <a:gd name="connsiteX22" fmla="*/ 201267 w 278943"/>
                <a:gd name="connsiteY22" fmla="*/ 341558 h 391019"/>
                <a:gd name="connsiteX23" fmla="*/ 220570 w 278943"/>
                <a:gd name="connsiteY23" fmla="*/ 322255 h 391019"/>
                <a:gd name="connsiteX24" fmla="*/ 230144 w 278943"/>
                <a:gd name="connsiteY24" fmla="*/ 302025 h 391019"/>
                <a:gd name="connsiteX25" fmla="*/ 230144 w 278943"/>
                <a:gd name="connsiteY25" fmla="*/ 261256 h 391019"/>
                <a:gd name="connsiteX26" fmla="*/ 220570 w 278943"/>
                <a:gd name="connsiteY26" fmla="*/ 240409 h 391019"/>
                <a:gd name="connsiteX27" fmla="*/ 201807 w 278943"/>
                <a:gd name="connsiteY27" fmla="*/ 221646 h 391019"/>
                <a:gd name="connsiteX28" fmla="*/ 179685 w 278943"/>
                <a:gd name="connsiteY28" fmla="*/ 213307 h 391019"/>
                <a:gd name="connsiteX29" fmla="*/ 48423 w 278943"/>
                <a:gd name="connsiteY29" fmla="*/ 213307 h 391019"/>
                <a:gd name="connsiteX30" fmla="*/ 48616 w 278943"/>
                <a:gd name="connsiteY30" fmla="*/ 174121 h 391019"/>
                <a:gd name="connsiteX31" fmla="*/ 174126 w 278943"/>
                <a:gd name="connsiteY31" fmla="*/ 174121 h 391019"/>
                <a:gd name="connsiteX32" fmla="*/ 194395 w 278943"/>
                <a:gd name="connsiteY32" fmla="*/ 166399 h 391019"/>
                <a:gd name="connsiteX33" fmla="*/ 208139 w 278943"/>
                <a:gd name="connsiteY33" fmla="*/ 152656 h 391019"/>
                <a:gd name="connsiteX34" fmla="*/ 217713 w 278943"/>
                <a:gd name="connsiteY34" fmla="*/ 131808 h 391019"/>
                <a:gd name="connsiteX35" fmla="*/ 217713 w 278943"/>
                <a:gd name="connsiteY35" fmla="*/ 89341 h 391019"/>
                <a:gd name="connsiteX36" fmla="*/ 208139 w 278943"/>
                <a:gd name="connsiteY36" fmla="*/ 69111 h 391019"/>
                <a:gd name="connsiteX37" fmla="*/ 188835 w 278943"/>
                <a:gd name="connsiteY37" fmla="*/ 49807 h 391019"/>
                <a:gd name="connsiteX38" fmla="*/ 168605 w 278943"/>
                <a:gd name="connsiteY38" fmla="*/ 41468 h 391019"/>
                <a:gd name="connsiteX39" fmla="*/ 48693 w 278943"/>
                <a:gd name="connsiteY39" fmla="*/ 41468 h 39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8943" h="391019">
                  <a:moveTo>
                    <a:pt x="189144" y="390936"/>
                  </a:moveTo>
                  <a:lnTo>
                    <a:pt x="13407" y="390936"/>
                  </a:lnTo>
                  <a:cubicBezTo>
                    <a:pt x="6821" y="391708"/>
                    <a:pt x="856" y="386996"/>
                    <a:pt x="83" y="380410"/>
                  </a:cubicBezTo>
                  <a:cubicBezTo>
                    <a:pt x="-27" y="379469"/>
                    <a:pt x="-26" y="378519"/>
                    <a:pt x="87" y="377578"/>
                  </a:cubicBezTo>
                  <a:lnTo>
                    <a:pt x="87" y="13440"/>
                  </a:lnTo>
                  <a:cubicBezTo>
                    <a:pt x="-704" y="6856"/>
                    <a:pt x="3991" y="877"/>
                    <a:pt x="10575" y="86"/>
                  </a:cubicBezTo>
                  <a:cubicBezTo>
                    <a:pt x="11515" y="-27"/>
                    <a:pt x="12465" y="-29"/>
                    <a:pt x="13406" y="82"/>
                  </a:cubicBezTo>
                  <a:lnTo>
                    <a:pt x="175555" y="82"/>
                  </a:lnTo>
                  <a:cubicBezTo>
                    <a:pt x="199838" y="82"/>
                    <a:pt x="212733" y="4792"/>
                    <a:pt x="226593" y="18652"/>
                  </a:cubicBezTo>
                  <a:lnTo>
                    <a:pt x="245356" y="37414"/>
                  </a:lnTo>
                  <a:cubicBezTo>
                    <a:pt x="262767" y="54826"/>
                    <a:pt x="265161" y="61119"/>
                    <a:pt x="265161" y="89109"/>
                  </a:cubicBezTo>
                  <a:lnTo>
                    <a:pt x="265161" y="124125"/>
                  </a:lnTo>
                  <a:cubicBezTo>
                    <a:pt x="265161" y="152385"/>
                    <a:pt x="262574" y="159219"/>
                    <a:pt x="245356" y="176437"/>
                  </a:cubicBezTo>
                  <a:lnTo>
                    <a:pt x="233272" y="188560"/>
                  </a:lnTo>
                  <a:lnTo>
                    <a:pt x="259138" y="214426"/>
                  </a:lnTo>
                  <a:cubicBezTo>
                    <a:pt x="276357" y="231645"/>
                    <a:pt x="278943" y="238478"/>
                    <a:pt x="278943" y="266738"/>
                  </a:cubicBezTo>
                  <a:lnTo>
                    <a:pt x="278943" y="301755"/>
                  </a:lnTo>
                  <a:cubicBezTo>
                    <a:pt x="278943" y="329745"/>
                    <a:pt x="276550" y="336037"/>
                    <a:pt x="259138" y="353449"/>
                  </a:cubicBezTo>
                  <a:lnTo>
                    <a:pt x="240375" y="372212"/>
                  </a:lnTo>
                  <a:cubicBezTo>
                    <a:pt x="226515" y="386226"/>
                    <a:pt x="213466" y="390936"/>
                    <a:pt x="189144" y="390936"/>
                  </a:cubicBezTo>
                  <a:close/>
                  <a:moveTo>
                    <a:pt x="48616" y="349859"/>
                  </a:moveTo>
                  <a:lnTo>
                    <a:pt x="181037" y="349859"/>
                  </a:lnTo>
                  <a:cubicBezTo>
                    <a:pt x="190457" y="349859"/>
                    <a:pt x="193275" y="349550"/>
                    <a:pt x="201267" y="341558"/>
                  </a:cubicBezTo>
                  <a:lnTo>
                    <a:pt x="220570" y="322255"/>
                  </a:lnTo>
                  <a:cubicBezTo>
                    <a:pt x="228291" y="314727"/>
                    <a:pt x="230144" y="311368"/>
                    <a:pt x="230144" y="302025"/>
                  </a:cubicBezTo>
                  <a:lnTo>
                    <a:pt x="230144" y="261256"/>
                  </a:lnTo>
                  <a:cubicBezTo>
                    <a:pt x="230144" y="251605"/>
                    <a:pt x="227751" y="247589"/>
                    <a:pt x="220570" y="240409"/>
                  </a:cubicBezTo>
                  <a:lnTo>
                    <a:pt x="201807" y="221646"/>
                  </a:lnTo>
                  <a:cubicBezTo>
                    <a:pt x="193816" y="213654"/>
                    <a:pt x="190225" y="213307"/>
                    <a:pt x="179685" y="213307"/>
                  </a:cubicBezTo>
                  <a:lnTo>
                    <a:pt x="48423" y="213307"/>
                  </a:lnTo>
                  <a:close/>
                  <a:moveTo>
                    <a:pt x="48616" y="174121"/>
                  </a:moveTo>
                  <a:lnTo>
                    <a:pt x="174126" y="174121"/>
                  </a:lnTo>
                  <a:cubicBezTo>
                    <a:pt x="184009" y="174121"/>
                    <a:pt x="186674" y="174121"/>
                    <a:pt x="194395" y="166399"/>
                  </a:cubicBezTo>
                  <a:lnTo>
                    <a:pt x="208139" y="152656"/>
                  </a:lnTo>
                  <a:cubicBezTo>
                    <a:pt x="215319" y="145475"/>
                    <a:pt x="217713" y="141460"/>
                    <a:pt x="217713" y="131808"/>
                  </a:cubicBezTo>
                  <a:lnTo>
                    <a:pt x="217713" y="89341"/>
                  </a:lnTo>
                  <a:cubicBezTo>
                    <a:pt x="217713" y="79998"/>
                    <a:pt x="215667" y="76639"/>
                    <a:pt x="208139" y="69111"/>
                  </a:cubicBezTo>
                  <a:lnTo>
                    <a:pt x="188835" y="49807"/>
                  </a:lnTo>
                  <a:cubicBezTo>
                    <a:pt x="180844" y="41777"/>
                    <a:pt x="178025" y="41468"/>
                    <a:pt x="168605" y="41468"/>
                  </a:cubicBezTo>
                  <a:lnTo>
                    <a:pt x="48693" y="41468"/>
                  </a:lnTo>
                  <a:close/>
                </a:path>
              </a:pathLst>
            </a:custGeom>
            <a:grpFill/>
            <a:ln w="3861" cap="flat">
              <a:noFill/>
              <a:prstDash val="solid"/>
              <a:miter/>
            </a:ln>
          </p:spPr>
          <p:txBody>
            <a:bodyPr rtlCol="0" anchor="ctr"/>
            <a:lstStyle/>
            <a:p>
              <a:endParaRPr lang="en-US"/>
            </a:p>
          </p:txBody>
        </p:sp>
        <p:sp>
          <p:nvSpPr>
            <p:cNvPr id="198" name="Freeform: Shape 197">
              <a:extLst>
                <a:ext uri="{FF2B5EF4-FFF2-40B4-BE49-F238E27FC236}">
                  <a16:creationId xmlns:a16="http://schemas.microsoft.com/office/drawing/2014/main" id="{01FB414C-F511-A74A-85F4-039EC3C64569}"/>
                </a:ext>
              </a:extLst>
            </p:cNvPr>
            <p:cNvSpPr/>
            <p:nvPr/>
          </p:nvSpPr>
          <p:spPr>
            <a:xfrm>
              <a:off x="7441057" y="7230782"/>
              <a:ext cx="264301" cy="313756"/>
            </a:xfrm>
            <a:custGeom>
              <a:avLst/>
              <a:gdLst>
                <a:gd name="connsiteX0" fmla="*/ 177900 w 264301"/>
                <a:gd name="connsiteY0" fmla="*/ 313757 h 313756"/>
                <a:gd name="connsiteX1" fmla="*/ 85243 w 264301"/>
                <a:gd name="connsiteY1" fmla="*/ 313757 h 313756"/>
                <a:gd name="connsiteX2" fmla="*/ 36059 w 264301"/>
                <a:gd name="connsiteY2" fmla="*/ 295187 h 313756"/>
                <a:gd name="connsiteX3" fmla="*/ 19805 w 264301"/>
                <a:gd name="connsiteY3" fmla="*/ 278934 h 313756"/>
                <a:gd name="connsiteX4" fmla="*/ 0 w 264301"/>
                <a:gd name="connsiteY4" fmla="*/ 226621 h 313756"/>
                <a:gd name="connsiteX5" fmla="*/ 0 w 264301"/>
                <a:gd name="connsiteY5" fmla="*/ 87135 h 313756"/>
                <a:gd name="connsiteX6" fmla="*/ 19805 w 264301"/>
                <a:gd name="connsiteY6" fmla="*/ 34823 h 313756"/>
                <a:gd name="connsiteX7" fmla="*/ 36059 w 264301"/>
                <a:gd name="connsiteY7" fmla="*/ 18570 h 313756"/>
                <a:gd name="connsiteX8" fmla="*/ 85243 w 264301"/>
                <a:gd name="connsiteY8" fmla="*/ 0 h 313756"/>
                <a:gd name="connsiteX9" fmla="*/ 179058 w 264301"/>
                <a:gd name="connsiteY9" fmla="*/ 0 h 313756"/>
                <a:gd name="connsiteX10" fmla="*/ 228243 w 264301"/>
                <a:gd name="connsiteY10" fmla="*/ 18570 h 313756"/>
                <a:gd name="connsiteX11" fmla="*/ 244496 w 264301"/>
                <a:gd name="connsiteY11" fmla="*/ 34823 h 313756"/>
                <a:gd name="connsiteX12" fmla="*/ 264301 w 264301"/>
                <a:gd name="connsiteY12" fmla="*/ 87135 h 313756"/>
                <a:gd name="connsiteX13" fmla="*/ 264301 w 264301"/>
                <a:gd name="connsiteY13" fmla="*/ 155315 h 313756"/>
                <a:gd name="connsiteX14" fmla="*/ 243492 w 264301"/>
                <a:gd name="connsiteY14" fmla="*/ 177398 h 313756"/>
                <a:gd name="connsiteX15" fmla="*/ 46058 w 264301"/>
                <a:gd name="connsiteY15" fmla="*/ 177398 h 313756"/>
                <a:gd name="connsiteX16" fmla="*/ 46058 w 264301"/>
                <a:gd name="connsiteY16" fmla="*/ 229131 h 313756"/>
                <a:gd name="connsiteX17" fmla="*/ 55015 w 264301"/>
                <a:gd name="connsiteY17" fmla="*/ 249361 h 313756"/>
                <a:gd name="connsiteX18" fmla="*/ 69376 w 264301"/>
                <a:gd name="connsiteY18" fmla="*/ 263761 h 313756"/>
                <a:gd name="connsiteX19" fmla="*/ 91498 w 264301"/>
                <a:gd name="connsiteY19" fmla="*/ 272062 h 313756"/>
                <a:gd name="connsiteX20" fmla="*/ 175313 w 264301"/>
                <a:gd name="connsiteY20" fmla="*/ 272062 h 313756"/>
                <a:gd name="connsiteX21" fmla="*/ 201643 w 264301"/>
                <a:gd name="connsiteY21" fmla="*/ 267197 h 313756"/>
                <a:gd name="connsiteX22" fmla="*/ 241562 w 264301"/>
                <a:gd name="connsiteY22" fmla="*/ 247894 h 313756"/>
                <a:gd name="connsiteX23" fmla="*/ 260479 w 264301"/>
                <a:gd name="connsiteY23" fmla="*/ 280323 h 313756"/>
                <a:gd name="connsiteX24" fmla="*/ 224228 w 264301"/>
                <a:gd name="connsiteY24" fmla="*/ 302329 h 313756"/>
                <a:gd name="connsiteX25" fmla="*/ 177900 w 264301"/>
                <a:gd name="connsiteY25" fmla="*/ 313757 h 313756"/>
                <a:gd name="connsiteX26" fmla="*/ 46135 w 264301"/>
                <a:gd name="connsiteY26" fmla="*/ 137131 h 313756"/>
                <a:gd name="connsiteX27" fmla="*/ 218977 w 264301"/>
                <a:gd name="connsiteY27" fmla="*/ 137131 h 313756"/>
                <a:gd name="connsiteX28" fmla="*/ 218977 w 264301"/>
                <a:gd name="connsiteY28" fmla="*/ 84008 h 313756"/>
                <a:gd name="connsiteX29" fmla="*/ 209403 w 264301"/>
                <a:gd name="connsiteY29" fmla="*/ 63778 h 313756"/>
                <a:gd name="connsiteX30" fmla="*/ 195003 w 264301"/>
                <a:gd name="connsiteY30" fmla="*/ 49378 h 313756"/>
                <a:gd name="connsiteX31" fmla="*/ 172881 w 264301"/>
                <a:gd name="connsiteY31" fmla="*/ 41077 h 313756"/>
                <a:gd name="connsiteX32" fmla="*/ 91575 w 264301"/>
                <a:gd name="connsiteY32" fmla="*/ 41077 h 313756"/>
                <a:gd name="connsiteX33" fmla="*/ 69415 w 264301"/>
                <a:gd name="connsiteY33" fmla="*/ 49417 h 313756"/>
                <a:gd name="connsiteX34" fmla="*/ 55092 w 264301"/>
                <a:gd name="connsiteY34" fmla="*/ 63778 h 313756"/>
                <a:gd name="connsiteX35" fmla="*/ 46135 w 264301"/>
                <a:gd name="connsiteY35" fmla="*/ 84008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4301" h="313756">
                  <a:moveTo>
                    <a:pt x="177900" y="313757"/>
                  </a:moveTo>
                  <a:lnTo>
                    <a:pt x="85243" y="313757"/>
                  </a:lnTo>
                  <a:cubicBezTo>
                    <a:pt x="61500" y="313757"/>
                    <a:pt x="50497" y="309587"/>
                    <a:pt x="36059" y="295187"/>
                  </a:cubicBezTo>
                  <a:lnTo>
                    <a:pt x="19805" y="278934"/>
                  </a:lnTo>
                  <a:cubicBezTo>
                    <a:pt x="2586" y="261715"/>
                    <a:pt x="0" y="254882"/>
                    <a:pt x="0" y="226621"/>
                  </a:cubicBezTo>
                  <a:lnTo>
                    <a:pt x="0" y="87135"/>
                  </a:lnTo>
                  <a:cubicBezTo>
                    <a:pt x="0" y="58914"/>
                    <a:pt x="2586" y="52042"/>
                    <a:pt x="19805" y="34823"/>
                  </a:cubicBezTo>
                  <a:lnTo>
                    <a:pt x="36059" y="18570"/>
                  </a:lnTo>
                  <a:cubicBezTo>
                    <a:pt x="50459" y="4169"/>
                    <a:pt x="61500" y="0"/>
                    <a:pt x="85243" y="0"/>
                  </a:cubicBezTo>
                  <a:lnTo>
                    <a:pt x="179058" y="0"/>
                  </a:lnTo>
                  <a:cubicBezTo>
                    <a:pt x="202801" y="0"/>
                    <a:pt x="213804" y="4169"/>
                    <a:pt x="228243" y="18570"/>
                  </a:cubicBezTo>
                  <a:lnTo>
                    <a:pt x="244496" y="34823"/>
                  </a:lnTo>
                  <a:cubicBezTo>
                    <a:pt x="261715" y="52042"/>
                    <a:pt x="264301" y="58914"/>
                    <a:pt x="264301" y="87135"/>
                  </a:cubicBezTo>
                  <a:lnTo>
                    <a:pt x="264301" y="155315"/>
                  </a:lnTo>
                  <a:cubicBezTo>
                    <a:pt x="264301" y="169561"/>
                    <a:pt x="256927" y="177398"/>
                    <a:pt x="243492" y="177398"/>
                  </a:cubicBezTo>
                  <a:lnTo>
                    <a:pt x="46058" y="177398"/>
                  </a:lnTo>
                  <a:lnTo>
                    <a:pt x="46058" y="229131"/>
                  </a:lnTo>
                  <a:cubicBezTo>
                    <a:pt x="46058" y="238512"/>
                    <a:pt x="47563" y="241910"/>
                    <a:pt x="55015" y="249361"/>
                  </a:cubicBezTo>
                  <a:lnTo>
                    <a:pt x="69376" y="263761"/>
                  </a:lnTo>
                  <a:cubicBezTo>
                    <a:pt x="77097" y="271482"/>
                    <a:pt x="79260" y="272062"/>
                    <a:pt x="91498" y="272062"/>
                  </a:cubicBezTo>
                  <a:lnTo>
                    <a:pt x="175313" y="272062"/>
                  </a:lnTo>
                  <a:cubicBezTo>
                    <a:pt x="184345" y="272456"/>
                    <a:pt x="193348" y="270793"/>
                    <a:pt x="201643" y="267197"/>
                  </a:cubicBezTo>
                  <a:lnTo>
                    <a:pt x="241562" y="247894"/>
                  </a:lnTo>
                  <a:lnTo>
                    <a:pt x="260479" y="280323"/>
                  </a:lnTo>
                  <a:lnTo>
                    <a:pt x="224228" y="302329"/>
                  </a:lnTo>
                  <a:cubicBezTo>
                    <a:pt x="209403" y="311595"/>
                    <a:pt x="200716" y="313757"/>
                    <a:pt x="177900" y="313757"/>
                  </a:cubicBezTo>
                  <a:close/>
                  <a:moveTo>
                    <a:pt x="46135" y="137131"/>
                  </a:moveTo>
                  <a:lnTo>
                    <a:pt x="218977" y="137131"/>
                  </a:lnTo>
                  <a:lnTo>
                    <a:pt x="218977" y="84008"/>
                  </a:lnTo>
                  <a:cubicBezTo>
                    <a:pt x="218977" y="74704"/>
                    <a:pt x="216931" y="71307"/>
                    <a:pt x="209403" y="63778"/>
                  </a:cubicBezTo>
                  <a:lnTo>
                    <a:pt x="195003" y="49378"/>
                  </a:lnTo>
                  <a:cubicBezTo>
                    <a:pt x="187281" y="42236"/>
                    <a:pt x="185080" y="41077"/>
                    <a:pt x="172881" y="41077"/>
                  </a:cubicBezTo>
                  <a:lnTo>
                    <a:pt x="91575" y="41077"/>
                  </a:lnTo>
                  <a:cubicBezTo>
                    <a:pt x="79375" y="41077"/>
                    <a:pt x="77252" y="42236"/>
                    <a:pt x="69415" y="49417"/>
                  </a:cubicBezTo>
                  <a:lnTo>
                    <a:pt x="55092" y="63778"/>
                  </a:lnTo>
                  <a:cubicBezTo>
                    <a:pt x="47641" y="71229"/>
                    <a:pt x="46135" y="74627"/>
                    <a:pt x="46135" y="84008"/>
                  </a:cubicBezTo>
                  <a:close/>
                </a:path>
              </a:pathLst>
            </a:custGeom>
            <a:grpFill/>
            <a:ln w="3861" cap="flat">
              <a:noFill/>
              <a:prstDash val="solid"/>
              <a:miter/>
            </a:ln>
          </p:spPr>
          <p:txBody>
            <a:bodyPr rtlCol="0" anchor="ctr"/>
            <a:lstStyle/>
            <a:p>
              <a:endParaRPr lang="en-US"/>
            </a:p>
          </p:txBody>
        </p:sp>
        <p:sp>
          <p:nvSpPr>
            <p:cNvPr id="199" name="Freeform: Shape 198">
              <a:extLst>
                <a:ext uri="{FF2B5EF4-FFF2-40B4-BE49-F238E27FC236}">
                  <a16:creationId xmlns:a16="http://schemas.microsoft.com/office/drawing/2014/main" id="{D4BDD43A-FAE7-52DB-7671-959E8E78EA78}"/>
                </a:ext>
              </a:extLst>
            </p:cNvPr>
            <p:cNvSpPr/>
            <p:nvPr/>
          </p:nvSpPr>
          <p:spPr>
            <a:xfrm>
              <a:off x="7777592" y="7230782"/>
              <a:ext cx="251021" cy="313756"/>
            </a:xfrm>
            <a:custGeom>
              <a:avLst/>
              <a:gdLst>
                <a:gd name="connsiteX0" fmla="*/ 168441 w 251021"/>
                <a:gd name="connsiteY0" fmla="*/ 313757 h 313756"/>
                <a:gd name="connsiteX1" fmla="*/ 85244 w 251021"/>
                <a:gd name="connsiteY1" fmla="*/ 313757 h 313756"/>
                <a:gd name="connsiteX2" fmla="*/ 36098 w 251021"/>
                <a:gd name="connsiteY2" fmla="*/ 295187 h 313756"/>
                <a:gd name="connsiteX3" fmla="*/ 19805 w 251021"/>
                <a:gd name="connsiteY3" fmla="*/ 278934 h 313756"/>
                <a:gd name="connsiteX4" fmla="*/ 0 w 251021"/>
                <a:gd name="connsiteY4" fmla="*/ 226621 h 313756"/>
                <a:gd name="connsiteX5" fmla="*/ 0 w 251021"/>
                <a:gd name="connsiteY5" fmla="*/ 87135 h 313756"/>
                <a:gd name="connsiteX6" fmla="*/ 19805 w 251021"/>
                <a:gd name="connsiteY6" fmla="*/ 34823 h 313756"/>
                <a:gd name="connsiteX7" fmla="*/ 36098 w 251021"/>
                <a:gd name="connsiteY7" fmla="*/ 18570 h 313756"/>
                <a:gd name="connsiteX8" fmla="*/ 85244 w 251021"/>
                <a:gd name="connsiteY8" fmla="*/ 0 h 313756"/>
                <a:gd name="connsiteX9" fmla="*/ 164079 w 251021"/>
                <a:gd name="connsiteY9" fmla="*/ 0 h 313756"/>
                <a:gd name="connsiteX10" fmla="*/ 210407 w 251021"/>
                <a:gd name="connsiteY10" fmla="*/ 11582 h 313756"/>
                <a:gd name="connsiteX11" fmla="*/ 246658 w 251021"/>
                <a:gd name="connsiteY11" fmla="*/ 32275 h 313756"/>
                <a:gd name="connsiteX12" fmla="*/ 228475 w 251021"/>
                <a:gd name="connsiteY12" fmla="*/ 66635 h 313756"/>
                <a:gd name="connsiteX13" fmla="*/ 187822 w 251021"/>
                <a:gd name="connsiteY13" fmla="*/ 47911 h 313756"/>
                <a:gd name="connsiteX14" fmla="*/ 161530 w 251021"/>
                <a:gd name="connsiteY14" fmla="*/ 43046 h 313756"/>
                <a:gd name="connsiteX15" fmla="*/ 91460 w 251021"/>
                <a:gd name="connsiteY15" fmla="*/ 43046 h 313756"/>
                <a:gd name="connsiteX16" fmla="*/ 69299 w 251021"/>
                <a:gd name="connsiteY16" fmla="*/ 51424 h 313756"/>
                <a:gd name="connsiteX17" fmla="*/ 54976 w 251021"/>
                <a:gd name="connsiteY17" fmla="*/ 65786 h 313756"/>
                <a:gd name="connsiteX18" fmla="*/ 46019 w 251021"/>
                <a:gd name="connsiteY18" fmla="*/ 86016 h 313756"/>
                <a:gd name="connsiteX19" fmla="*/ 46019 w 251021"/>
                <a:gd name="connsiteY19" fmla="*/ 227857 h 313756"/>
                <a:gd name="connsiteX20" fmla="*/ 54976 w 251021"/>
                <a:gd name="connsiteY20" fmla="*/ 248125 h 313756"/>
                <a:gd name="connsiteX21" fmla="*/ 69377 w 251021"/>
                <a:gd name="connsiteY21" fmla="*/ 262487 h 313756"/>
                <a:gd name="connsiteX22" fmla="*/ 91460 w 251021"/>
                <a:gd name="connsiteY22" fmla="*/ 270826 h 313756"/>
                <a:gd name="connsiteX23" fmla="*/ 165893 w 251021"/>
                <a:gd name="connsiteY23" fmla="*/ 270826 h 313756"/>
                <a:gd name="connsiteX24" fmla="*/ 192223 w 251021"/>
                <a:gd name="connsiteY24" fmla="*/ 265923 h 313756"/>
                <a:gd name="connsiteX25" fmla="*/ 232837 w 251021"/>
                <a:gd name="connsiteY25" fmla="*/ 246620 h 313756"/>
                <a:gd name="connsiteX26" fmla="*/ 251021 w 251021"/>
                <a:gd name="connsiteY26" fmla="*/ 280285 h 313756"/>
                <a:gd name="connsiteX27" fmla="*/ 214808 w 251021"/>
                <a:gd name="connsiteY27" fmla="*/ 302291 h 313756"/>
                <a:gd name="connsiteX28" fmla="*/ 168441 w 251021"/>
                <a:gd name="connsiteY28" fmla="*/ 313757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1021" h="313756">
                  <a:moveTo>
                    <a:pt x="168441" y="313757"/>
                  </a:moveTo>
                  <a:lnTo>
                    <a:pt x="85244" y="313757"/>
                  </a:lnTo>
                  <a:cubicBezTo>
                    <a:pt x="61501" y="313757"/>
                    <a:pt x="50498" y="309587"/>
                    <a:pt x="36098" y="295187"/>
                  </a:cubicBezTo>
                  <a:lnTo>
                    <a:pt x="19805" y="278934"/>
                  </a:lnTo>
                  <a:cubicBezTo>
                    <a:pt x="2587" y="261715"/>
                    <a:pt x="0" y="254882"/>
                    <a:pt x="0" y="226621"/>
                  </a:cubicBezTo>
                  <a:lnTo>
                    <a:pt x="0" y="87135"/>
                  </a:lnTo>
                  <a:cubicBezTo>
                    <a:pt x="0" y="58914"/>
                    <a:pt x="2587" y="52042"/>
                    <a:pt x="19805" y="34823"/>
                  </a:cubicBezTo>
                  <a:lnTo>
                    <a:pt x="36098" y="18570"/>
                  </a:lnTo>
                  <a:cubicBezTo>
                    <a:pt x="50459" y="4169"/>
                    <a:pt x="61501" y="0"/>
                    <a:pt x="85244" y="0"/>
                  </a:cubicBezTo>
                  <a:lnTo>
                    <a:pt x="164079" y="0"/>
                  </a:lnTo>
                  <a:cubicBezTo>
                    <a:pt x="186432" y="0"/>
                    <a:pt x="194964" y="2741"/>
                    <a:pt x="210407" y="11582"/>
                  </a:cubicBezTo>
                  <a:lnTo>
                    <a:pt x="246658" y="32275"/>
                  </a:lnTo>
                  <a:lnTo>
                    <a:pt x="228475" y="66635"/>
                  </a:lnTo>
                  <a:lnTo>
                    <a:pt x="187822" y="47911"/>
                  </a:lnTo>
                  <a:cubicBezTo>
                    <a:pt x="179541" y="44312"/>
                    <a:pt x="170551" y="42648"/>
                    <a:pt x="161530" y="43046"/>
                  </a:cubicBezTo>
                  <a:lnTo>
                    <a:pt x="91460" y="43046"/>
                  </a:lnTo>
                  <a:cubicBezTo>
                    <a:pt x="79260" y="43046"/>
                    <a:pt x="77137" y="44205"/>
                    <a:pt x="69299" y="51424"/>
                  </a:cubicBezTo>
                  <a:lnTo>
                    <a:pt x="54976" y="65786"/>
                  </a:lnTo>
                  <a:cubicBezTo>
                    <a:pt x="47525" y="73237"/>
                    <a:pt x="46019" y="76634"/>
                    <a:pt x="46019" y="86016"/>
                  </a:cubicBezTo>
                  <a:lnTo>
                    <a:pt x="46019" y="227857"/>
                  </a:lnTo>
                  <a:cubicBezTo>
                    <a:pt x="46019" y="237238"/>
                    <a:pt x="47525" y="240674"/>
                    <a:pt x="54976" y="248125"/>
                  </a:cubicBezTo>
                  <a:lnTo>
                    <a:pt x="69377" y="262487"/>
                  </a:lnTo>
                  <a:cubicBezTo>
                    <a:pt x="77098" y="269668"/>
                    <a:pt x="79260" y="270826"/>
                    <a:pt x="91460" y="270826"/>
                  </a:cubicBezTo>
                  <a:lnTo>
                    <a:pt x="165893" y="270826"/>
                  </a:lnTo>
                  <a:cubicBezTo>
                    <a:pt x="174930" y="271232"/>
                    <a:pt x="183938" y="269555"/>
                    <a:pt x="192223" y="265923"/>
                  </a:cubicBezTo>
                  <a:lnTo>
                    <a:pt x="232837" y="246620"/>
                  </a:lnTo>
                  <a:lnTo>
                    <a:pt x="251021" y="280285"/>
                  </a:lnTo>
                  <a:lnTo>
                    <a:pt x="214808" y="302291"/>
                  </a:lnTo>
                  <a:cubicBezTo>
                    <a:pt x="199945" y="311595"/>
                    <a:pt x="191258" y="313757"/>
                    <a:pt x="168441" y="313757"/>
                  </a:cubicBezTo>
                  <a:close/>
                </a:path>
              </a:pathLst>
            </a:custGeom>
            <a:grpFill/>
            <a:ln w="3861" cap="flat">
              <a:noFill/>
              <a:prstDash val="solid"/>
              <a:miter/>
            </a:ln>
          </p:spPr>
          <p:txBody>
            <a:bodyPr rtlCol="0" anchor="ctr"/>
            <a:lstStyle/>
            <a:p>
              <a:endParaRPr lang="en-US"/>
            </a:p>
          </p:txBody>
        </p:sp>
        <p:sp>
          <p:nvSpPr>
            <p:cNvPr id="200" name="Freeform: Shape 199">
              <a:extLst>
                <a:ext uri="{FF2B5EF4-FFF2-40B4-BE49-F238E27FC236}">
                  <a16:creationId xmlns:a16="http://schemas.microsoft.com/office/drawing/2014/main" id="{26DBCFC2-882E-E478-DDBC-5E4C82F8714D}"/>
                </a:ext>
              </a:extLst>
            </p:cNvPr>
            <p:cNvSpPr/>
            <p:nvPr/>
          </p:nvSpPr>
          <p:spPr>
            <a:xfrm>
              <a:off x="8089071" y="7230666"/>
              <a:ext cx="268625" cy="313946"/>
            </a:xfrm>
            <a:custGeom>
              <a:avLst/>
              <a:gdLst>
                <a:gd name="connsiteX0" fmla="*/ 184077 w 268625"/>
                <a:gd name="connsiteY0" fmla="*/ 313873 h 313946"/>
                <a:gd name="connsiteX1" fmla="*/ 85244 w 268625"/>
                <a:gd name="connsiteY1" fmla="*/ 313873 h 313946"/>
                <a:gd name="connsiteX2" fmla="*/ 36059 w 268625"/>
                <a:gd name="connsiteY2" fmla="*/ 295303 h 313946"/>
                <a:gd name="connsiteX3" fmla="*/ 19805 w 268625"/>
                <a:gd name="connsiteY3" fmla="*/ 279049 h 313946"/>
                <a:gd name="connsiteX4" fmla="*/ 0 w 268625"/>
                <a:gd name="connsiteY4" fmla="*/ 226737 h 313946"/>
                <a:gd name="connsiteX5" fmla="*/ 0 w 268625"/>
                <a:gd name="connsiteY5" fmla="*/ 203573 h 313946"/>
                <a:gd name="connsiteX6" fmla="*/ 19805 w 268625"/>
                <a:gd name="connsiteY6" fmla="*/ 151261 h 313946"/>
                <a:gd name="connsiteX7" fmla="*/ 36059 w 268625"/>
                <a:gd name="connsiteY7" fmla="*/ 135008 h 313946"/>
                <a:gd name="connsiteX8" fmla="*/ 85244 w 268625"/>
                <a:gd name="connsiteY8" fmla="*/ 116476 h 313946"/>
                <a:gd name="connsiteX9" fmla="*/ 165314 w 268625"/>
                <a:gd name="connsiteY9" fmla="*/ 116476 h 313946"/>
                <a:gd name="connsiteX10" fmla="*/ 198207 w 268625"/>
                <a:gd name="connsiteY10" fmla="*/ 120878 h 313946"/>
                <a:gd name="connsiteX11" fmla="*/ 222645 w 268625"/>
                <a:gd name="connsiteY11" fmla="*/ 127865 h 313946"/>
                <a:gd name="connsiteX12" fmla="*/ 222645 w 268625"/>
                <a:gd name="connsiteY12" fmla="*/ 84742 h 313946"/>
                <a:gd name="connsiteX13" fmla="*/ 213689 w 268625"/>
                <a:gd name="connsiteY13" fmla="*/ 64512 h 313946"/>
                <a:gd name="connsiteX14" fmla="*/ 199288 w 268625"/>
                <a:gd name="connsiteY14" fmla="*/ 50111 h 313946"/>
                <a:gd name="connsiteX15" fmla="*/ 177166 w 268625"/>
                <a:gd name="connsiteY15" fmla="*/ 41811 h 313946"/>
                <a:gd name="connsiteX16" fmla="*/ 99644 w 268625"/>
                <a:gd name="connsiteY16" fmla="*/ 41811 h 313946"/>
                <a:gd name="connsiteX17" fmla="*/ 75206 w 268625"/>
                <a:gd name="connsiteY17" fmla="*/ 46676 h 313946"/>
                <a:gd name="connsiteX18" fmla="*/ 34013 w 268625"/>
                <a:gd name="connsiteY18" fmla="*/ 66635 h 313946"/>
                <a:gd name="connsiteX19" fmla="*/ 15134 w 268625"/>
                <a:gd name="connsiteY19" fmla="*/ 33588 h 313946"/>
                <a:gd name="connsiteX20" fmla="*/ 51347 w 268625"/>
                <a:gd name="connsiteY20" fmla="*/ 11582 h 313946"/>
                <a:gd name="connsiteX21" fmla="*/ 97675 w 268625"/>
                <a:gd name="connsiteY21" fmla="*/ 0 h 313946"/>
                <a:gd name="connsiteX22" fmla="*/ 183343 w 268625"/>
                <a:gd name="connsiteY22" fmla="*/ 0 h 313946"/>
                <a:gd name="connsiteX23" fmla="*/ 232528 w 268625"/>
                <a:gd name="connsiteY23" fmla="*/ 18570 h 313946"/>
                <a:gd name="connsiteX24" fmla="*/ 248820 w 268625"/>
                <a:gd name="connsiteY24" fmla="*/ 34823 h 313946"/>
                <a:gd name="connsiteX25" fmla="*/ 268626 w 268625"/>
                <a:gd name="connsiteY25" fmla="*/ 87135 h 313946"/>
                <a:gd name="connsiteX26" fmla="*/ 268626 w 268625"/>
                <a:gd name="connsiteY26" fmla="*/ 268587 h 313946"/>
                <a:gd name="connsiteX27" fmla="*/ 252102 w 268625"/>
                <a:gd name="connsiteY27" fmla="*/ 294338 h 313946"/>
                <a:gd name="connsiteX28" fmla="*/ 220792 w 268625"/>
                <a:gd name="connsiteY28" fmla="*/ 306846 h 313946"/>
                <a:gd name="connsiteX29" fmla="*/ 184077 w 268625"/>
                <a:gd name="connsiteY29" fmla="*/ 313873 h 313946"/>
                <a:gd name="connsiteX30" fmla="*/ 90880 w 268625"/>
                <a:gd name="connsiteY30" fmla="*/ 158133 h 313946"/>
                <a:gd name="connsiteX31" fmla="*/ 68759 w 268625"/>
                <a:gd name="connsiteY31" fmla="*/ 166472 h 313946"/>
                <a:gd name="connsiteX32" fmla="*/ 55015 w 268625"/>
                <a:gd name="connsiteY32" fmla="*/ 180216 h 313946"/>
                <a:gd name="connsiteX33" fmla="*/ 46058 w 268625"/>
                <a:gd name="connsiteY33" fmla="*/ 200485 h 313946"/>
                <a:gd name="connsiteX34" fmla="*/ 46058 w 268625"/>
                <a:gd name="connsiteY34" fmla="*/ 229903 h 313946"/>
                <a:gd name="connsiteX35" fmla="*/ 55015 w 268625"/>
                <a:gd name="connsiteY35" fmla="*/ 250133 h 313946"/>
                <a:gd name="connsiteX36" fmla="*/ 68759 w 268625"/>
                <a:gd name="connsiteY36" fmla="*/ 263915 h 313946"/>
                <a:gd name="connsiteX37" fmla="*/ 90880 w 268625"/>
                <a:gd name="connsiteY37" fmla="*/ 272216 h 313946"/>
                <a:gd name="connsiteX38" fmla="*/ 180486 w 268625"/>
                <a:gd name="connsiteY38" fmla="*/ 272216 h 313946"/>
                <a:gd name="connsiteX39" fmla="*/ 193111 w 268625"/>
                <a:gd name="connsiteY39" fmla="*/ 269822 h 313946"/>
                <a:gd name="connsiteX40" fmla="*/ 220136 w 268625"/>
                <a:gd name="connsiteY40" fmla="*/ 259205 h 313946"/>
                <a:gd name="connsiteX41" fmla="*/ 222992 w 268625"/>
                <a:gd name="connsiteY41" fmla="*/ 254920 h 313946"/>
                <a:gd name="connsiteX42" fmla="*/ 222992 w 268625"/>
                <a:gd name="connsiteY42" fmla="*/ 175429 h 313946"/>
                <a:gd name="connsiteX43" fmla="*/ 217780 w 268625"/>
                <a:gd name="connsiteY43" fmla="*/ 169329 h 313946"/>
                <a:gd name="connsiteX44" fmla="*/ 186509 w 268625"/>
                <a:gd name="connsiteY44" fmla="*/ 160565 h 313946"/>
                <a:gd name="connsiteX45" fmla="*/ 164388 w 268625"/>
                <a:gd name="connsiteY45" fmla="*/ 158133 h 31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8625" h="313946">
                  <a:moveTo>
                    <a:pt x="184077" y="313873"/>
                  </a:moveTo>
                  <a:lnTo>
                    <a:pt x="85244" y="313873"/>
                  </a:lnTo>
                  <a:cubicBezTo>
                    <a:pt x="61500" y="313873"/>
                    <a:pt x="50498" y="309703"/>
                    <a:pt x="36059" y="295303"/>
                  </a:cubicBezTo>
                  <a:lnTo>
                    <a:pt x="19805" y="279049"/>
                  </a:lnTo>
                  <a:cubicBezTo>
                    <a:pt x="2586" y="261831"/>
                    <a:pt x="0" y="254959"/>
                    <a:pt x="0" y="226737"/>
                  </a:cubicBezTo>
                  <a:lnTo>
                    <a:pt x="0" y="203573"/>
                  </a:lnTo>
                  <a:cubicBezTo>
                    <a:pt x="0" y="175352"/>
                    <a:pt x="2586" y="168518"/>
                    <a:pt x="19805" y="151261"/>
                  </a:cubicBezTo>
                  <a:lnTo>
                    <a:pt x="36059" y="135008"/>
                  </a:lnTo>
                  <a:cubicBezTo>
                    <a:pt x="50459" y="120607"/>
                    <a:pt x="61500" y="116476"/>
                    <a:pt x="85244" y="116476"/>
                  </a:cubicBezTo>
                  <a:lnTo>
                    <a:pt x="165314" y="116476"/>
                  </a:lnTo>
                  <a:cubicBezTo>
                    <a:pt x="176435" y="116313"/>
                    <a:pt x="187520" y="117796"/>
                    <a:pt x="198207" y="120878"/>
                  </a:cubicBezTo>
                  <a:lnTo>
                    <a:pt x="222645" y="127865"/>
                  </a:lnTo>
                  <a:lnTo>
                    <a:pt x="222645" y="84742"/>
                  </a:lnTo>
                  <a:cubicBezTo>
                    <a:pt x="222645" y="75360"/>
                    <a:pt x="221139" y="71963"/>
                    <a:pt x="213689" y="64512"/>
                  </a:cubicBezTo>
                  <a:lnTo>
                    <a:pt x="199288" y="50111"/>
                  </a:lnTo>
                  <a:cubicBezTo>
                    <a:pt x="191567" y="42969"/>
                    <a:pt x="189366" y="41811"/>
                    <a:pt x="177166" y="41811"/>
                  </a:cubicBezTo>
                  <a:lnTo>
                    <a:pt x="99644" y="41811"/>
                  </a:lnTo>
                  <a:cubicBezTo>
                    <a:pt x="91217" y="41332"/>
                    <a:pt x="82807" y="43006"/>
                    <a:pt x="75206" y="46676"/>
                  </a:cubicBezTo>
                  <a:lnTo>
                    <a:pt x="34013" y="66635"/>
                  </a:lnTo>
                  <a:lnTo>
                    <a:pt x="15134" y="33588"/>
                  </a:lnTo>
                  <a:lnTo>
                    <a:pt x="51347" y="11582"/>
                  </a:lnTo>
                  <a:cubicBezTo>
                    <a:pt x="66249" y="2278"/>
                    <a:pt x="74935" y="0"/>
                    <a:pt x="97675" y="0"/>
                  </a:cubicBezTo>
                  <a:lnTo>
                    <a:pt x="183343" y="0"/>
                  </a:lnTo>
                  <a:cubicBezTo>
                    <a:pt x="207125" y="0"/>
                    <a:pt x="218089" y="4169"/>
                    <a:pt x="232528" y="18570"/>
                  </a:cubicBezTo>
                  <a:lnTo>
                    <a:pt x="248820" y="34823"/>
                  </a:lnTo>
                  <a:cubicBezTo>
                    <a:pt x="266039" y="52042"/>
                    <a:pt x="268626" y="58914"/>
                    <a:pt x="268626" y="87135"/>
                  </a:cubicBezTo>
                  <a:lnTo>
                    <a:pt x="268626" y="268587"/>
                  </a:lnTo>
                  <a:cubicBezTo>
                    <a:pt x="268626" y="281945"/>
                    <a:pt x="263839" y="289396"/>
                    <a:pt x="252102" y="294338"/>
                  </a:cubicBezTo>
                  <a:lnTo>
                    <a:pt x="220792" y="306846"/>
                  </a:lnTo>
                  <a:cubicBezTo>
                    <a:pt x="209264" y="312007"/>
                    <a:pt x="196694" y="314412"/>
                    <a:pt x="184077" y="313873"/>
                  </a:cubicBezTo>
                  <a:close/>
                  <a:moveTo>
                    <a:pt x="90880" y="158133"/>
                  </a:moveTo>
                  <a:cubicBezTo>
                    <a:pt x="80032" y="158133"/>
                    <a:pt x="76055" y="159175"/>
                    <a:pt x="68759" y="166472"/>
                  </a:cubicBezTo>
                  <a:lnTo>
                    <a:pt x="55015" y="180216"/>
                  </a:lnTo>
                  <a:cubicBezTo>
                    <a:pt x="47564" y="187667"/>
                    <a:pt x="46058" y="191065"/>
                    <a:pt x="46058" y="200485"/>
                  </a:cubicBezTo>
                  <a:lnTo>
                    <a:pt x="46058" y="229903"/>
                  </a:lnTo>
                  <a:cubicBezTo>
                    <a:pt x="46058" y="239284"/>
                    <a:pt x="47564" y="242682"/>
                    <a:pt x="55015" y="250133"/>
                  </a:cubicBezTo>
                  <a:lnTo>
                    <a:pt x="68759" y="263915"/>
                  </a:lnTo>
                  <a:cubicBezTo>
                    <a:pt x="76480" y="271058"/>
                    <a:pt x="78680" y="272216"/>
                    <a:pt x="90880" y="272216"/>
                  </a:cubicBezTo>
                  <a:lnTo>
                    <a:pt x="180486" y="272216"/>
                  </a:lnTo>
                  <a:cubicBezTo>
                    <a:pt x="184816" y="272312"/>
                    <a:pt x="189117" y="271496"/>
                    <a:pt x="193111" y="269822"/>
                  </a:cubicBezTo>
                  <a:lnTo>
                    <a:pt x="220136" y="259205"/>
                  </a:lnTo>
                  <a:cubicBezTo>
                    <a:pt x="222722" y="258163"/>
                    <a:pt x="222992" y="257468"/>
                    <a:pt x="222992" y="254920"/>
                  </a:cubicBezTo>
                  <a:lnTo>
                    <a:pt x="222992" y="175429"/>
                  </a:lnTo>
                  <a:cubicBezTo>
                    <a:pt x="222992" y="171375"/>
                    <a:pt x="221873" y="170487"/>
                    <a:pt x="217780" y="169329"/>
                  </a:cubicBezTo>
                  <a:lnTo>
                    <a:pt x="186509" y="160565"/>
                  </a:lnTo>
                  <a:cubicBezTo>
                    <a:pt x="179276" y="158775"/>
                    <a:pt x="171837" y="157957"/>
                    <a:pt x="164388" y="158133"/>
                  </a:cubicBezTo>
                  <a:close/>
                </a:path>
              </a:pathLst>
            </a:custGeom>
            <a:grpFill/>
            <a:ln w="3861"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EF111F18-3C42-534F-2E44-8AEAF79A38E9}"/>
                </a:ext>
              </a:extLst>
            </p:cNvPr>
            <p:cNvSpPr/>
            <p:nvPr/>
          </p:nvSpPr>
          <p:spPr>
            <a:xfrm>
              <a:off x="8436802" y="7234566"/>
              <a:ext cx="265575" cy="310044"/>
            </a:xfrm>
            <a:custGeom>
              <a:avLst/>
              <a:gdLst>
                <a:gd name="connsiteX0" fmla="*/ 180949 w 265575"/>
                <a:gd name="connsiteY0" fmla="*/ 309973 h 310044"/>
                <a:gd name="connsiteX1" fmla="*/ 85243 w 265575"/>
                <a:gd name="connsiteY1" fmla="*/ 309973 h 310044"/>
                <a:gd name="connsiteX2" fmla="*/ 36058 w 265575"/>
                <a:gd name="connsiteY2" fmla="*/ 291404 h 310044"/>
                <a:gd name="connsiteX3" fmla="*/ 19805 w 265575"/>
                <a:gd name="connsiteY3" fmla="*/ 275150 h 310044"/>
                <a:gd name="connsiteX4" fmla="*/ 0 w 265575"/>
                <a:gd name="connsiteY4" fmla="*/ 222838 h 310044"/>
                <a:gd name="connsiteX5" fmla="*/ 0 w 265575"/>
                <a:gd name="connsiteY5" fmla="*/ 0 h 310044"/>
                <a:gd name="connsiteX6" fmla="*/ 46019 w 265575"/>
                <a:gd name="connsiteY6" fmla="*/ 0 h 310044"/>
                <a:gd name="connsiteX7" fmla="*/ 46019 w 265575"/>
                <a:gd name="connsiteY7" fmla="*/ 223919 h 310044"/>
                <a:gd name="connsiteX8" fmla="*/ 54976 w 265575"/>
                <a:gd name="connsiteY8" fmla="*/ 244188 h 310044"/>
                <a:gd name="connsiteX9" fmla="*/ 69376 w 265575"/>
                <a:gd name="connsiteY9" fmla="*/ 258549 h 310044"/>
                <a:gd name="connsiteX10" fmla="*/ 91498 w 265575"/>
                <a:gd name="connsiteY10" fmla="*/ 266888 h 310044"/>
                <a:gd name="connsiteX11" fmla="*/ 178440 w 265575"/>
                <a:gd name="connsiteY11" fmla="*/ 266888 h 310044"/>
                <a:gd name="connsiteX12" fmla="*/ 188517 w 265575"/>
                <a:gd name="connsiteY12" fmla="*/ 265112 h 310044"/>
                <a:gd name="connsiteX13" fmla="*/ 216660 w 265575"/>
                <a:gd name="connsiteY13" fmla="*/ 253839 h 310044"/>
                <a:gd name="connsiteX14" fmla="*/ 219517 w 265575"/>
                <a:gd name="connsiteY14" fmla="*/ 249592 h 310044"/>
                <a:gd name="connsiteX15" fmla="*/ 219517 w 265575"/>
                <a:gd name="connsiteY15" fmla="*/ 0 h 310044"/>
                <a:gd name="connsiteX16" fmla="*/ 265576 w 265575"/>
                <a:gd name="connsiteY16" fmla="*/ 0 h 310044"/>
                <a:gd name="connsiteX17" fmla="*/ 265576 w 265575"/>
                <a:gd name="connsiteY17" fmla="*/ 264611 h 310044"/>
                <a:gd name="connsiteX18" fmla="*/ 249052 w 265575"/>
                <a:gd name="connsiteY18" fmla="*/ 290361 h 310044"/>
                <a:gd name="connsiteX19" fmla="*/ 217741 w 265575"/>
                <a:gd name="connsiteY19" fmla="*/ 302870 h 310044"/>
                <a:gd name="connsiteX20" fmla="*/ 180949 w 265575"/>
                <a:gd name="connsiteY20" fmla="*/ 309973 h 31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5575" h="310044">
                  <a:moveTo>
                    <a:pt x="180949" y="309973"/>
                  </a:moveTo>
                  <a:lnTo>
                    <a:pt x="85243" y="309973"/>
                  </a:lnTo>
                  <a:cubicBezTo>
                    <a:pt x="61500" y="309973"/>
                    <a:pt x="50497" y="305804"/>
                    <a:pt x="36058" y="291404"/>
                  </a:cubicBezTo>
                  <a:lnTo>
                    <a:pt x="19805" y="275150"/>
                  </a:lnTo>
                  <a:cubicBezTo>
                    <a:pt x="2586" y="257931"/>
                    <a:pt x="0" y="251060"/>
                    <a:pt x="0" y="222838"/>
                  </a:cubicBezTo>
                  <a:lnTo>
                    <a:pt x="0" y="0"/>
                  </a:lnTo>
                  <a:lnTo>
                    <a:pt x="46019" y="0"/>
                  </a:lnTo>
                  <a:lnTo>
                    <a:pt x="46019" y="223919"/>
                  </a:lnTo>
                  <a:cubicBezTo>
                    <a:pt x="46019" y="233301"/>
                    <a:pt x="47563" y="236736"/>
                    <a:pt x="54976" y="244188"/>
                  </a:cubicBezTo>
                  <a:lnTo>
                    <a:pt x="69376" y="258549"/>
                  </a:lnTo>
                  <a:cubicBezTo>
                    <a:pt x="77097" y="265730"/>
                    <a:pt x="79298" y="266888"/>
                    <a:pt x="91498" y="266888"/>
                  </a:cubicBezTo>
                  <a:lnTo>
                    <a:pt x="178440" y="266888"/>
                  </a:lnTo>
                  <a:cubicBezTo>
                    <a:pt x="181880" y="266930"/>
                    <a:pt x="185298" y="266328"/>
                    <a:pt x="188517" y="265112"/>
                  </a:cubicBezTo>
                  <a:lnTo>
                    <a:pt x="216660" y="253839"/>
                  </a:lnTo>
                  <a:cubicBezTo>
                    <a:pt x="218549" y="253349"/>
                    <a:pt x="219775" y="251527"/>
                    <a:pt x="219517" y="249592"/>
                  </a:cubicBezTo>
                  <a:lnTo>
                    <a:pt x="219517" y="0"/>
                  </a:lnTo>
                  <a:lnTo>
                    <a:pt x="265576" y="0"/>
                  </a:lnTo>
                  <a:lnTo>
                    <a:pt x="265576" y="264611"/>
                  </a:lnTo>
                  <a:cubicBezTo>
                    <a:pt x="265576" y="277968"/>
                    <a:pt x="260789" y="285420"/>
                    <a:pt x="249052" y="290361"/>
                  </a:cubicBezTo>
                  <a:lnTo>
                    <a:pt x="217741" y="302870"/>
                  </a:lnTo>
                  <a:cubicBezTo>
                    <a:pt x="206197" y="308069"/>
                    <a:pt x="193599" y="310501"/>
                    <a:pt x="180949" y="309973"/>
                  </a:cubicBezTo>
                  <a:close/>
                </a:path>
              </a:pathLst>
            </a:custGeom>
            <a:grpFill/>
            <a:ln w="3861"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9DC1CD35-CF85-E8A5-3442-DA8C4750FDF0}"/>
                </a:ext>
              </a:extLst>
            </p:cNvPr>
            <p:cNvSpPr/>
            <p:nvPr/>
          </p:nvSpPr>
          <p:spPr>
            <a:xfrm>
              <a:off x="8769013" y="7230782"/>
              <a:ext cx="249205" cy="313756"/>
            </a:xfrm>
            <a:custGeom>
              <a:avLst/>
              <a:gdLst>
                <a:gd name="connsiteX0" fmla="*/ 163924 w 249205"/>
                <a:gd name="connsiteY0" fmla="*/ 313757 h 313756"/>
                <a:gd name="connsiteX1" fmla="*/ 83892 w 249205"/>
                <a:gd name="connsiteY1" fmla="*/ 313757 h 313756"/>
                <a:gd name="connsiteX2" fmla="*/ 36213 w 249205"/>
                <a:gd name="connsiteY2" fmla="*/ 302175 h 313756"/>
                <a:gd name="connsiteX3" fmla="*/ 0 w 249205"/>
                <a:gd name="connsiteY3" fmla="*/ 280169 h 313756"/>
                <a:gd name="connsiteX4" fmla="*/ 18222 w 249205"/>
                <a:gd name="connsiteY4" fmla="*/ 247122 h 313756"/>
                <a:gd name="connsiteX5" fmla="*/ 62002 w 249205"/>
                <a:gd name="connsiteY5" fmla="*/ 267738 h 313756"/>
                <a:gd name="connsiteX6" fmla="*/ 87636 w 249205"/>
                <a:gd name="connsiteY6" fmla="*/ 271946 h 313756"/>
                <a:gd name="connsiteX7" fmla="*/ 158325 w 249205"/>
                <a:gd name="connsiteY7" fmla="*/ 271946 h 313756"/>
                <a:gd name="connsiteX8" fmla="*/ 180486 w 249205"/>
                <a:gd name="connsiteY8" fmla="*/ 263607 h 313756"/>
                <a:gd name="connsiteX9" fmla="*/ 195427 w 249205"/>
                <a:gd name="connsiteY9" fmla="*/ 248627 h 313756"/>
                <a:gd name="connsiteX10" fmla="*/ 204384 w 249205"/>
                <a:gd name="connsiteY10" fmla="*/ 228397 h 313756"/>
                <a:gd name="connsiteX11" fmla="*/ 204384 w 249205"/>
                <a:gd name="connsiteY11" fmla="*/ 206623 h 313756"/>
                <a:gd name="connsiteX12" fmla="*/ 183806 w 249205"/>
                <a:gd name="connsiteY12" fmla="*/ 184270 h 313756"/>
                <a:gd name="connsiteX13" fmla="*/ 67986 w 249205"/>
                <a:gd name="connsiteY13" fmla="*/ 173653 h 313756"/>
                <a:gd name="connsiteX14" fmla="*/ 22739 w 249205"/>
                <a:gd name="connsiteY14" fmla="*/ 157013 h 313756"/>
                <a:gd name="connsiteX15" fmla="*/ 6022 w 249205"/>
                <a:gd name="connsiteY15" fmla="*/ 105898 h 313756"/>
                <a:gd name="connsiteX16" fmla="*/ 6022 w 249205"/>
                <a:gd name="connsiteY16" fmla="*/ 85900 h 313756"/>
                <a:gd name="connsiteX17" fmla="*/ 25828 w 249205"/>
                <a:gd name="connsiteY17" fmla="*/ 34823 h 313756"/>
                <a:gd name="connsiteX18" fmla="*/ 42081 w 249205"/>
                <a:gd name="connsiteY18" fmla="*/ 18570 h 313756"/>
                <a:gd name="connsiteX19" fmla="*/ 91883 w 249205"/>
                <a:gd name="connsiteY19" fmla="*/ 0 h 313756"/>
                <a:gd name="connsiteX20" fmla="*/ 155700 w 249205"/>
                <a:gd name="connsiteY20" fmla="*/ 0 h 313756"/>
                <a:gd name="connsiteX21" fmla="*/ 202723 w 249205"/>
                <a:gd name="connsiteY21" fmla="*/ 11582 h 313756"/>
                <a:gd name="connsiteX22" fmla="*/ 238937 w 249205"/>
                <a:gd name="connsiteY22" fmla="*/ 33549 h 313756"/>
                <a:gd name="connsiteX23" fmla="*/ 220714 w 249205"/>
                <a:gd name="connsiteY23" fmla="*/ 66597 h 313756"/>
                <a:gd name="connsiteX24" fmla="*/ 176973 w 249205"/>
                <a:gd name="connsiteY24" fmla="*/ 46637 h 313756"/>
                <a:gd name="connsiteX25" fmla="*/ 151299 w 249205"/>
                <a:gd name="connsiteY25" fmla="*/ 41772 h 313756"/>
                <a:gd name="connsiteX26" fmla="*/ 97018 w 249205"/>
                <a:gd name="connsiteY26" fmla="*/ 41772 h 313756"/>
                <a:gd name="connsiteX27" fmla="*/ 74858 w 249205"/>
                <a:gd name="connsiteY27" fmla="*/ 50150 h 313756"/>
                <a:gd name="connsiteX28" fmla="*/ 59878 w 249205"/>
                <a:gd name="connsiteY28" fmla="*/ 65091 h 313756"/>
                <a:gd name="connsiteX29" fmla="*/ 50922 w 249205"/>
                <a:gd name="connsiteY29" fmla="*/ 85359 h 313756"/>
                <a:gd name="connsiteX30" fmla="*/ 50922 w 249205"/>
                <a:gd name="connsiteY30" fmla="*/ 108523 h 313756"/>
                <a:gd name="connsiteX31" fmla="*/ 71537 w 249205"/>
                <a:gd name="connsiteY31" fmla="*/ 130838 h 313756"/>
                <a:gd name="connsiteX32" fmla="*/ 185968 w 249205"/>
                <a:gd name="connsiteY32" fmla="*/ 141494 h 313756"/>
                <a:gd name="connsiteX33" fmla="*/ 234381 w 249205"/>
                <a:gd name="connsiteY33" fmla="*/ 159407 h 313756"/>
                <a:gd name="connsiteX34" fmla="*/ 249206 w 249205"/>
                <a:gd name="connsiteY34" fmla="*/ 206739 h 313756"/>
                <a:gd name="connsiteX35" fmla="*/ 249206 w 249205"/>
                <a:gd name="connsiteY35" fmla="*/ 226737 h 313756"/>
                <a:gd name="connsiteX36" fmla="*/ 229401 w 249205"/>
                <a:gd name="connsiteY36" fmla="*/ 279049 h 313756"/>
                <a:gd name="connsiteX37" fmla="*/ 213109 w 249205"/>
                <a:gd name="connsiteY37" fmla="*/ 295303 h 313756"/>
                <a:gd name="connsiteX38" fmla="*/ 163924 w 249205"/>
                <a:gd name="connsiteY38" fmla="*/ 313757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49205" h="313756">
                  <a:moveTo>
                    <a:pt x="163924" y="313757"/>
                  </a:moveTo>
                  <a:lnTo>
                    <a:pt x="83892" y="313757"/>
                  </a:lnTo>
                  <a:cubicBezTo>
                    <a:pt x="62465" y="313757"/>
                    <a:pt x="52582" y="312097"/>
                    <a:pt x="36213" y="302175"/>
                  </a:cubicBezTo>
                  <a:lnTo>
                    <a:pt x="0" y="280169"/>
                  </a:lnTo>
                  <a:lnTo>
                    <a:pt x="18222" y="247122"/>
                  </a:lnTo>
                  <a:lnTo>
                    <a:pt x="62002" y="267738"/>
                  </a:lnTo>
                  <a:cubicBezTo>
                    <a:pt x="70106" y="271105"/>
                    <a:pt x="78881" y="272545"/>
                    <a:pt x="87636" y="271946"/>
                  </a:cubicBezTo>
                  <a:lnTo>
                    <a:pt x="158325" y="271946"/>
                  </a:lnTo>
                  <a:cubicBezTo>
                    <a:pt x="170487" y="271946"/>
                    <a:pt x="172649" y="270787"/>
                    <a:pt x="180486" y="263607"/>
                  </a:cubicBezTo>
                  <a:lnTo>
                    <a:pt x="195427" y="248627"/>
                  </a:lnTo>
                  <a:cubicBezTo>
                    <a:pt x="202878" y="241176"/>
                    <a:pt x="204384" y="237779"/>
                    <a:pt x="204384" y="228397"/>
                  </a:cubicBezTo>
                  <a:lnTo>
                    <a:pt x="204384" y="206623"/>
                  </a:lnTo>
                  <a:cubicBezTo>
                    <a:pt x="204384" y="190640"/>
                    <a:pt x="200175" y="186046"/>
                    <a:pt x="183806" y="184270"/>
                  </a:cubicBezTo>
                  <a:lnTo>
                    <a:pt x="67986" y="173653"/>
                  </a:lnTo>
                  <a:cubicBezTo>
                    <a:pt x="47370" y="171645"/>
                    <a:pt x="32545" y="166202"/>
                    <a:pt x="22739" y="157013"/>
                  </a:cubicBezTo>
                  <a:cubicBezTo>
                    <a:pt x="11157" y="146281"/>
                    <a:pt x="6022" y="129989"/>
                    <a:pt x="6022" y="105898"/>
                  </a:cubicBezTo>
                  <a:lnTo>
                    <a:pt x="6022" y="85900"/>
                  </a:lnTo>
                  <a:cubicBezTo>
                    <a:pt x="6022" y="60921"/>
                    <a:pt x="8339" y="52312"/>
                    <a:pt x="25828" y="34823"/>
                  </a:cubicBezTo>
                  <a:lnTo>
                    <a:pt x="42081" y="18570"/>
                  </a:lnTo>
                  <a:cubicBezTo>
                    <a:pt x="57137" y="4169"/>
                    <a:pt x="68334" y="0"/>
                    <a:pt x="91883" y="0"/>
                  </a:cubicBezTo>
                  <a:lnTo>
                    <a:pt x="155700" y="0"/>
                  </a:lnTo>
                  <a:cubicBezTo>
                    <a:pt x="177204" y="0"/>
                    <a:pt x="187049" y="1660"/>
                    <a:pt x="202723" y="11582"/>
                  </a:cubicBezTo>
                  <a:lnTo>
                    <a:pt x="238937" y="33549"/>
                  </a:lnTo>
                  <a:lnTo>
                    <a:pt x="220714" y="66597"/>
                  </a:lnTo>
                  <a:lnTo>
                    <a:pt x="176973" y="46637"/>
                  </a:lnTo>
                  <a:cubicBezTo>
                    <a:pt x="168917" y="43018"/>
                    <a:pt x="160121" y="41352"/>
                    <a:pt x="151299" y="41772"/>
                  </a:cubicBezTo>
                  <a:lnTo>
                    <a:pt x="97018" y="41772"/>
                  </a:lnTo>
                  <a:cubicBezTo>
                    <a:pt x="84819" y="41772"/>
                    <a:pt x="82657" y="42931"/>
                    <a:pt x="74858" y="50150"/>
                  </a:cubicBezTo>
                  <a:lnTo>
                    <a:pt x="59878" y="65091"/>
                  </a:lnTo>
                  <a:cubicBezTo>
                    <a:pt x="52427" y="72542"/>
                    <a:pt x="50922" y="75978"/>
                    <a:pt x="50922" y="85359"/>
                  </a:cubicBezTo>
                  <a:lnTo>
                    <a:pt x="50922" y="108523"/>
                  </a:lnTo>
                  <a:cubicBezTo>
                    <a:pt x="50922" y="124507"/>
                    <a:pt x="55168" y="129101"/>
                    <a:pt x="71537" y="130838"/>
                  </a:cubicBezTo>
                  <a:lnTo>
                    <a:pt x="185968" y="141494"/>
                  </a:lnTo>
                  <a:cubicBezTo>
                    <a:pt x="210175" y="144042"/>
                    <a:pt x="224189" y="149215"/>
                    <a:pt x="234381" y="159407"/>
                  </a:cubicBezTo>
                  <a:cubicBezTo>
                    <a:pt x="244573" y="169599"/>
                    <a:pt x="249206" y="184540"/>
                    <a:pt x="249206" y="206739"/>
                  </a:cubicBezTo>
                  <a:lnTo>
                    <a:pt x="249206" y="226737"/>
                  </a:lnTo>
                  <a:cubicBezTo>
                    <a:pt x="249206" y="254997"/>
                    <a:pt x="246619" y="261831"/>
                    <a:pt x="229401" y="279049"/>
                  </a:cubicBezTo>
                  <a:lnTo>
                    <a:pt x="213109" y="295303"/>
                  </a:lnTo>
                  <a:cubicBezTo>
                    <a:pt x="198709" y="309587"/>
                    <a:pt x="187744" y="313757"/>
                    <a:pt x="163924" y="313757"/>
                  </a:cubicBezTo>
                  <a:close/>
                </a:path>
              </a:pathLst>
            </a:custGeom>
            <a:grpFill/>
            <a:ln w="3861"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FE26CDBD-8637-A0B7-14C6-C2E57A6888E8}"/>
                </a:ext>
              </a:extLst>
            </p:cNvPr>
            <p:cNvSpPr/>
            <p:nvPr/>
          </p:nvSpPr>
          <p:spPr>
            <a:xfrm>
              <a:off x="9084661" y="7230782"/>
              <a:ext cx="264302" cy="313756"/>
            </a:xfrm>
            <a:custGeom>
              <a:avLst/>
              <a:gdLst>
                <a:gd name="connsiteX0" fmla="*/ 177900 w 264302"/>
                <a:gd name="connsiteY0" fmla="*/ 313757 h 313756"/>
                <a:gd name="connsiteX1" fmla="*/ 85244 w 264302"/>
                <a:gd name="connsiteY1" fmla="*/ 313757 h 313756"/>
                <a:gd name="connsiteX2" fmla="*/ 36059 w 264302"/>
                <a:gd name="connsiteY2" fmla="*/ 295187 h 313756"/>
                <a:gd name="connsiteX3" fmla="*/ 19806 w 264302"/>
                <a:gd name="connsiteY3" fmla="*/ 278934 h 313756"/>
                <a:gd name="connsiteX4" fmla="*/ 0 w 264302"/>
                <a:gd name="connsiteY4" fmla="*/ 226621 h 313756"/>
                <a:gd name="connsiteX5" fmla="*/ 0 w 264302"/>
                <a:gd name="connsiteY5" fmla="*/ 87135 h 313756"/>
                <a:gd name="connsiteX6" fmla="*/ 19806 w 264302"/>
                <a:gd name="connsiteY6" fmla="*/ 34823 h 313756"/>
                <a:gd name="connsiteX7" fmla="*/ 36059 w 264302"/>
                <a:gd name="connsiteY7" fmla="*/ 18570 h 313756"/>
                <a:gd name="connsiteX8" fmla="*/ 85244 w 264302"/>
                <a:gd name="connsiteY8" fmla="*/ 0 h 313756"/>
                <a:gd name="connsiteX9" fmla="*/ 179058 w 264302"/>
                <a:gd name="connsiteY9" fmla="*/ 0 h 313756"/>
                <a:gd name="connsiteX10" fmla="*/ 228243 w 264302"/>
                <a:gd name="connsiteY10" fmla="*/ 18570 h 313756"/>
                <a:gd name="connsiteX11" fmla="*/ 244497 w 264302"/>
                <a:gd name="connsiteY11" fmla="*/ 34823 h 313756"/>
                <a:gd name="connsiteX12" fmla="*/ 264302 w 264302"/>
                <a:gd name="connsiteY12" fmla="*/ 87135 h 313756"/>
                <a:gd name="connsiteX13" fmla="*/ 264302 w 264302"/>
                <a:gd name="connsiteY13" fmla="*/ 155315 h 313756"/>
                <a:gd name="connsiteX14" fmla="*/ 243493 w 264302"/>
                <a:gd name="connsiteY14" fmla="*/ 177398 h 313756"/>
                <a:gd name="connsiteX15" fmla="*/ 46020 w 264302"/>
                <a:gd name="connsiteY15" fmla="*/ 177398 h 313756"/>
                <a:gd name="connsiteX16" fmla="*/ 46020 w 264302"/>
                <a:gd name="connsiteY16" fmla="*/ 229131 h 313756"/>
                <a:gd name="connsiteX17" fmla="*/ 54977 w 264302"/>
                <a:gd name="connsiteY17" fmla="*/ 249361 h 313756"/>
                <a:gd name="connsiteX18" fmla="*/ 69377 w 264302"/>
                <a:gd name="connsiteY18" fmla="*/ 263761 h 313756"/>
                <a:gd name="connsiteX19" fmla="*/ 91499 w 264302"/>
                <a:gd name="connsiteY19" fmla="*/ 272062 h 313756"/>
                <a:gd name="connsiteX20" fmla="*/ 175314 w 264302"/>
                <a:gd name="connsiteY20" fmla="*/ 272062 h 313756"/>
                <a:gd name="connsiteX21" fmla="*/ 201644 w 264302"/>
                <a:gd name="connsiteY21" fmla="*/ 267197 h 313756"/>
                <a:gd name="connsiteX22" fmla="*/ 241562 w 264302"/>
                <a:gd name="connsiteY22" fmla="*/ 247894 h 313756"/>
                <a:gd name="connsiteX23" fmla="*/ 260442 w 264302"/>
                <a:gd name="connsiteY23" fmla="*/ 280323 h 313756"/>
                <a:gd name="connsiteX24" fmla="*/ 224228 w 264302"/>
                <a:gd name="connsiteY24" fmla="*/ 302329 h 313756"/>
                <a:gd name="connsiteX25" fmla="*/ 177900 w 264302"/>
                <a:gd name="connsiteY25" fmla="*/ 313757 h 313756"/>
                <a:gd name="connsiteX26" fmla="*/ 46097 w 264302"/>
                <a:gd name="connsiteY26" fmla="*/ 137131 h 313756"/>
                <a:gd name="connsiteX27" fmla="*/ 218978 w 264302"/>
                <a:gd name="connsiteY27" fmla="*/ 137131 h 313756"/>
                <a:gd name="connsiteX28" fmla="*/ 218978 w 264302"/>
                <a:gd name="connsiteY28" fmla="*/ 84008 h 313756"/>
                <a:gd name="connsiteX29" fmla="*/ 209365 w 264302"/>
                <a:gd name="connsiteY29" fmla="*/ 63778 h 313756"/>
                <a:gd name="connsiteX30" fmla="*/ 195003 w 264302"/>
                <a:gd name="connsiteY30" fmla="*/ 49378 h 313756"/>
                <a:gd name="connsiteX31" fmla="*/ 172881 w 264302"/>
                <a:gd name="connsiteY31" fmla="*/ 41077 h 313756"/>
                <a:gd name="connsiteX32" fmla="*/ 91576 w 264302"/>
                <a:gd name="connsiteY32" fmla="*/ 41077 h 313756"/>
                <a:gd name="connsiteX33" fmla="*/ 69416 w 264302"/>
                <a:gd name="connsiteY33" fmla="*/ 49417 h 313756"/>
                <a:gd name="connsiteX34" fmla="*/ 55053 w 264302"/>
                <a:gd name="connsiteY34" fmla="*/ 63778 h 313756"/>
                <a:gd name="connsiteX35" fmla="*/ 46097 w 264302"/>
                <a:gd name="connsiteY35" fmla="*/ 84008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4302" h="313756">
                  <a:moveTo>
                    <a:pt x="177900" y="313757"/>
                  </a:moveTo>
                  <a:lnTo>
                    <a:pt x="85244" y="313757"/>
                  </a:lnTo>
                  <a:cubicBezTo>
                    <a:pt x="61501" y="313757"/>
                    <a:pt x="50498" y="309587"/>
                    <a:pt x="36059" y="295187"/>
                  </a:cubicBezTo>
                  <a:lnTo>
                    <a:pt x="19806" y="278934"/>
                  </a:lnTo>
                  <a:cubicBezTo>
                    <a:pt x="2587" y="261715"/>
                    <a:pt x="0" y="254882"/>
                    <a:pt x="0" y="226621"/>
                  </a:cubicBezTo>
                  <a:lnTo>
                    <a:pt x="0" y="87135"/>
                  </a:lnTo>
                  <a:cubicBezTo>
                    <a:pt x="0" y="58914"/>
                    <a:pt x="2587" y="52042"/>
                    <a:pt x="19806" y="34823"/>
                  </a:cubicBezTo>
                  <a:lnTo>
                    <a:pt x="36059" y="18570"/>
                  </a:lnTo>
                  <a:cubicBezTo>
                    <a:pt x="50459" y="4169"/>
                    <a:pt x="61501" y="0"/>
                    <a:pt x="85244" y="0"/>
                  </a:cubicBezTo>
                  <a:lnTo>
                    <a:pt x="179058" y="0"/>
                  </a:lnTo>
                  <a:cubicBezTo>
                    <a:pt x="202801" y="0"/>
                    <a:pt x="213804" y="4169"/>
                    <a:pt x="228243" y="18570"/>
                  </a:cubicBezTo>
                  <a:lnTo>
                    <a:pt x="244497" y="34823"/>
                  </a:lnTo>
                  <a:cubicBezTo>
                    <a:pt x="261715" y="52042"/>
                    <a:pt x="264302" y="58914"/>
                    <a:pt x="264302" y="87135"/>
                  </a:cubicBezTo>
                  <a:lnTo>
                    <a:pt x="264302" y="155315"/>
                  </a:lnTo>
                  <a:cubicBezTo>
                    <a:pt x="264302" y="169561"/>
                    <a:pt x="256928" y="177398"/>
                    <a:pt x="243493" y="177398"/>
                  </a:cubicBezTo>
                  <a:lnTo>
                    <a:pt x="46020" y="177398"/>
                  </a:lnTo>
                  <a:lnTo>
                    <a:pt x="46020" y="229131"/>
                  </a:lnTo>
                  <a:cubicBezTo>
                    <a:pt x="46020" y="238512"/>
                    <a:pt x="47525" y="241910"/>
                    <a:pt x="54977" y="249361"/>
                  </a:cubicBezTo>
                  <a:lnTo>
                    <a:pt x="69377" y="263761"/>
                  </a:lnTo>
                  <a:cubicBezTo>
                    <a:pt x="77098" y="271482"/>
                    <a:pt x="79260" y="272062"/>
                    <a:pt x="91499" y="272062"/>
                  </a:cubicBezTo>
                  <a:lnTo>
                    <a:pt x="175314" y="272062"/>
                  </a:lnTo>
                  <a:cubicBezTo>
                    <a:pt x="184345" y="272456"/>
                    <a:pt x="193349" y="270793"/>
                    <a:pt x="201644" y="267197"/>
                  </a:cubicBezTo>
                  <a:lnTo>
                    <a:pt x="241562" y="247894"/>
                  </a:lnTo>
                  <a:lnTo>
                    <a:pt x="260442" y="280323"/>
                  </a:lnTo>
                  <a:lnTo>
                    <a:pt x="224228" y="302329"/>
                  </a:lnTo>
                  <a:cubicBezTo>
                    <a:pt x="209365" y="311595"/>
                    <a:pt x="200717" y="313757"/>
                    <a:pt x="177900" y="313757"/>
                  </a:cubicBezTo>
                  <a:close/>
                  <a:moveTo>
                    <a:pt x="46097" y="137131"/>
                  </a:moveTo>
                  <a:lnTo>
                    <a:pt x="218978" y="137131"/>
                  </a:lnTo>
                  <a:lnTo>
                    <a:pt x="218978" y="84008"/>
                  </a:lnTo>
                  <a:cubicBezTo>
                    <a:pt x="218978" y="74704"/>
                    <a:pt x="216932" y="71307"/>
                    <a:pt x="209365" y="63778"/>
                  </a:cubicBezTo>
                  <a:lnTo>
                    <a:pt x="195003" y="49378"/>
                  </a:lnTo>
                  <a:cubicBezTo>
                    <a:pt x="187281" y="42236"/>
                    <a:pt x="185081" y="41077"/>
                    <a:pt x="172881" y="41077"/>
                  </a:cubicBezTo>
                  <a:lnTo>
                    <a:pt x="91576" y="41077"/>
                  </a:lnTo>
                  <a:cubicBezTo>
                    <a:pt x="79376" y="41077"/>
                    <a:pt x="77213" y="42236"/>
                    <a:pt x="69416" y="49417"/>
                  </a:cubicBezTo>
                  <a:lnTo>
                    <a:pt x="55053" y="63778"/>
                  </a:lnTo>
                  <a:cubicBezTo>
                    <a:pt x="47602" y="71229"/>
                    <a:pt x="46097" y="74627"/>
                    <a:pt x="46097" y="84008"/>
                  </a:cubicBezTo>
                  <a:close/>
                </a:path>
              </a:pathLst>
            </a:custGeom>
            <a:grpFill/>
            <a:ln w="3861" cap="flat">
              <a:noFill/>
              <a:prstDash val="solid"/>
              <a:miter/>
            </a:ln>
          </p:spPr>
          <p:txBody>
            <a:bodyPr rtlCol="0" anchor="ctr"/>
            <a:lstStyle/>
            <a:p>
              <a:endParaRPr lang="en-US"/>
            </a:p>
          </p:txBody>
        </p:sp>
        <p:sp>
          <p:nvSpPr>
            <p:cNvPr id="204" name="Freeform: Shape 203">
              <a:extLst>
                <a:ext uri="{FF2B5EF4-FFF2-40B4-BE49-F238E27FC236}">
                  <a16:creationId xmlns:a16="http://schemas.microsoft.com/office/drawing/2014/main" id="{9F11DEAA-80B0-EB49-6421-57664CF3FC15}"/>
                </a:ext>
              </a:extLst>
            </p:cNvPr>
            <p:cNvSpPr/>
            <p:nvPr/>
          </p:nvSpPr>
          <p:spPr>
            <a:xfrm>
              <a:off x="9578865" y="7234566"/>
              <a:ext cx="450038" cy="310012"/>
            </a:xfrm>
            <a:custGeom>
              <a:avLst/>
              <a:gdLst>
                <a:gd name="connsiteX0" fmla="*/ 332868 w 450038"/>
                <a:gd name="connsiteY0" fmla="*/ 309973 h 310012"/>
                <a:gd name="connsiteX1" fmla="*/ 319124 w 450038"/>
                <a:gd name="connsiteY1" fmla="*/ 309973 h 310012"/>
                <a:gd name="connsiteX2" fmla="*/ 291018 w 450038"/>
                <a:gd name="connsiteY2" fmla="*/ 294955 h 310012"/>
                <a:gd name="connsiteX3" fmla="*/ 224653 w 450038"/>
                <a:gd name="connsiteY3" fmla="*/ 202840 h 310012"/>
                <a:gd name="connsiteX4" fmla="*/ 159022 w 450038"/>
                <a:gd name="connsiteY4" fmla="*/ 295033 h 310012"/>
                <a:gd name="connsiteX5" fmla="*/ 130916 w 450038"/>
                <a:gd name="connsiteY5" fmla="*/ 310012 h 310012"/>
                <a:gd name="connsiteX6" fmla="*/ 117172 w 450038"/>
                <a:gd name="connsiteY6" fmla="*/ 310012 h 310012"/>
                <a:gd name="connsiteX7" fmla="*/ 89105 w 450038"/>
                <a:gd name="connsiteY7" fmla="*/ 294994 h 310012"/>
                <a:gd name="connsiteX8" fmla="*/ 20925 w 450038"/>
                <a:gd name="connsiteY8" fmla="*/ 199944 h 310012"/>
                <a:gd name="connsiteX9" fmla="*/ 0 w 450038"/>
                <a:gd name="connsiteY9" fmla="*/ 140297 h 310012"/>
                <a:gd name="connsiteX10" fmla="*/ 0 w 450038"/>
                <a:gd name="connsiteY10" fmla="*/ 0 h 310012"/>
                <a:gd name="connsiteX11" fmla="*/ 46058 w 450038"/>
                <a:gd name="connsiteY11" fmla="*/ 0 h 310012"/>
                <a:gd name="connsiteX12" fmla="*/ 46058 w 450038"/>
                <a:gd name="connsiteY12" fmla="*/ 144042 h 310012"/>
                <a:gd name="connsiteX13" fmla="*/ 55826 w 450038"/>
                <a:gd name="connsiteY13" fmla="*/ 174464 h 310012"/>
                <a:gd name="connsiteX14" fmla="*/ 123967 w 450038"/>
                <a:gd name="connsiteY14" fmla="*/ 268471 h 310012"/>
                <a:gd name="connsiteX15" fmla="*/ 192223 w 450038"/>
                <a:gd name="connsiteY15" fmla="*/ 174425 h 310012"/>
                <a:gd name="connsiteX16" fmla="*/ 201952 w 450038"/>
                <a:gd name="connsiteY16" fmla="*/ 144003 h 310012"/>
                <a:gd name="connsiteX17" fmla="*/ 201952 w 450038"/>
                <a:gd name="connsiteY17" fmla="*/ 0 h 310012"/>
                <a:gd name="connsiteX18" fmla="*/ 248009 w 450038"/>
                <a:gd name="connsiteY18" fmla="*/ 0 h 310012"/>
                <a:gd name="connsiteX19" fmla="*/ 248009 w 450038"/>
                <a:gd name="connsiteY19" fmla="*/ 144042 h 310012"/>
                <a:gd name="connsiteX20" fmla="*/ 257738 w 450038"/>
                <a:gd name="connsiteY20" fmla="*/ 174464 h 310012"/>
                <a:gd name="connsiteX21" fmla="*/ 325996 w 450038"/>
                <a:gd name="connsiteY21" fmla="*/ 268471 h 310012"/>
                <a:gd name="connsiteX22" fmla="*/ 394252 w 450038"/>
                <a:gd name="connsiteY22" fmla="*/ 174425 h 310012"/>
                <a:gd name="connsiteX23" fmla="*/ 403981 w 450038"/>
                <a:gd name="connsiteY23" fmla="*/ 144003 h 310012"/>
                <a:gd name="connsiteX24" fmla="*/ 403981 w 450038"/>
                <a:gd name="connsiteY24" fmla="*/ 0 h 310012"/>
                <a:gd name="connsiteX25" fmla="*/ 450039 w 450038"/>
                <a:gd name="connsiteY25" fmla="*/ 0 h 310012"/>
                <a:gd name="connsiteX26" fmla="*/ 450039 w 450038"/>
                <a:gd name="connsiteY26" fmla="*/ 140258 h 310012"/>
                <a:gd name="connsiteX27" fmla="*/ 429114 w 450038"/>
                <a:gd name="connsiteY27" fmla="*/ 199906 h 310012"/>
                <a:gd name="connsiteX28" fmla="*/ 360934 w 450038"/>
                <a:gd name="connsiteY28" fmla="*/ 294994 h 310012"/>
                <a:gd name="connsiteX29" fmla="*/ 332868 w 450038"/>
                <a:gd name="connsiteY29" fmla="*/ 309973 h 31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0038" h="310012">
                  <a:moveTo>
                    <a:pt x="332868" y="309973"/>
                  </a:moveTo>
                  <a:lnTo>
                    <a:pt x="319124" y="309973"/>
                  </a:lnTo>
                  <a:cubicBezTo>
                    <a:pt x="307194" y="309973"/>
                    <a:pt x="299820" y="307734"/>
                    <a:pt x="291018" y="294955"/>
                  </a:cubicBezTo>
                  <a:lnTo>
                    <a:pt x="224653" y="202840"/>
                  </a:lnTo>
                  <a:lnTo>
                    <a:pt x="159022" y="295033"/>
                  </a:lnTo>
                  <a:cubicBezTo>
                    <a:pt x="150065" y="307773"/>
                    <a:pt x="142845" y="310012"/>
                    <a:pt x="130916" y="310012"/>
                  </a:cubicBezTo>
                  <a:lnTo>
                    <a:pt x="117172" y="310012"/>
                  </a:lnTo>
                  <a:cubicBezTo>
                    <a:pt x="105242" y="310012"/>
                    <a:pt x="97868" y="307773"/>
                    <a:pt x="89105" y="294994"/>
                  </a:cubicBezTo>
                  <a:lnTo>
                    <a:pt x="20925" y="199944"/>
                  </a:lnTo>
                  <a:cubicBezTo>
                    <a:pt x="6177" y="179058"/>
                    <a:pt x="0" y="166163"/>
                    <a:pt x="0" y="140297"/>
                  </a:cubicBezTo>
                  <a:lnTo>
                    <a:pt x="0" y="0"/>
                  </a:lnTo>
                  <a:lnTo>
                    <a:pt x="46058" y="0"/>
                  </a:lnTo>
                  <a:lnTo>
                    <a:pt x="46058" y="144042"/>
                  </a:lnTo>
                  <a:cubicBezTo>
                    <a:pt x="46058" y="157207"/>
                    <a:pt x="47024" y="161917"/>
                    <a:pt x="55826" y="174464"/>
                  </a:cubicBezTo>
                  <a:lnTo>
                    <a:pt x="123967" y="268471"/>
                  </a:lnTo>
                  <a:lnTo>
                    <a:pt x="192223" y="174425"/>
                  </a:lnTo>
                  <a:cubicBezTo>
                    <a:pt x="200987" y="161878"/>
                    <a:pt x="201952" y="157168"/>
                    <a:pt x="201952" y="144003"/>
                  </a:cubicBezTo>
                  <a:lnTo>
                    <a:pt x="201952" y="0"/>
                  </a:lnTo>
                  <a:lnTo>
                    <a:pt x="248009" y="0"/>
                  </a:lnTo>
                  <a:lnTo>
                    <a:pt x="248009" y="144042"/>
                  </a:lnTo>
                  <a:cubicBezTo>
                    <a:pt x="248009" y="157207"/>
                    <a:pt x="248975" y="161917"/>
                    <a:pt x="257738" y="174464"/>
                  </a:cubicBezTo>
                  <a:lnTo>
                    <a:pt x="325996" y="268471"/>
                  </a:lnTo>
                  <a:lnTo>
                    <a:pt x="394252" y="174425"/>
                  </a:lnTo>
                  <a:cubicBezTo>
                    <a:pt x="403016" y="161878"/>
                    <a:pt x="403981" y="157168"/>
                    <a:pt x="403981" y="144003"/>
                  </a:cubicBezTo>
                  <a:lnTo>
                    <a:pt x="403981" y="0"/>
                  </a:lnTo>
                  <a:lnTo>
                    <a:pt x="450039" y="0"/>
                  </a:lnTo>
                  <a:lnTo>
                    <a:pt x="450039" y="140258"/>
                  </a:lnTo>
                  <a:cubicBezTo>
                    <a:pt x="450039" y="166125"/>
                    <a:pt x="443862" y="178865"/>
                    <a:pt x="429114" y="199906"/>
                  </a:cubicBezTo>
                  <a:lnTo>
                    <a:pt x="360934" y="294994"/>
                  </a:lnTo>
                  <a:cubicBezTo>
                    <a:pt x="352017" y="307734"/>
                    <a:pt x="344758" y="309973"/>
                    <a:pt x="332868" y="309973"/>
                  </a:cubicBezTo>
                  <a:close/>
                </a:path>
              </a:pathLst>
            </a:custGeom>
            <a:grpFill/>
            <a:ln w="3861" cap="flat">
              <a:noFill/>
              <a:prstDash val="solid"/>
              <a:miter/>
            </a:ln>
          </p:spPr>
          <p:txBody>
            <a:bodyPr rtlCol="0" anchor="ctr"/>
            <a:lstStyle/>
            <a:p>
              <a:endParaRPr lang="en-US"/>
            </a:p>
          </p:txBody>
        </p:sp>
        <p:sp>
          <p:nvSpPr>
            <p:cNvPr id="205" name="Freeform: Shape 204">
              <a:extLst>
                <a:ext uri="{FF2B5EF4-FFF2-40B4-BE49-F238E27FC236}">
                  <a16:creationId xmlns:a16="http://schemas.microsoft.com/office/drawing/2014/main" id="{7ACCBD49-4091-860B-F3ED-A34C2B089D37}"/>
                </a:ext>
              </a:extLst>
            </p:cNvPr>
            <p:cNvSpPr/>
            <p:nvPr/>
          </p:nvSpPr>
          <p:spPr>
            <a:xfrm>
              <a:off x="10097199" y="7230782"/>
              <a:ext cx="264340" cy="313756"/>
            </a:xfrm>
            <a:custGeom>
              <a:avLst/>
              <a:gdLst>
                <a:gd name="connsiteX0" fmla="*/ 177900 w 264340"/>
                <a:gd name="connsiteY0" fmla="*/ 313757 h 313756"/>
                <a:gd name="connsiteX1" fmla="*/ 85244 w 264340"/>
                <a:gd name="connsiteY1" fmla="*/ 313757 h 313756"/>
                <a:gd name="connsiteX2" fmla="*/ 36098 w 264340"/>
                <a:gd name="connsiteY2" fmla="*/ 295187 h 313756"/>
                <a:gd name="connsiteX3" fmla="*/ 19806 w 264340"/>
                <a:gd name="connsiteY3" fmla="*/ 278934 h 313756"/>
                <a:gd name="connsiteX4" fmla="*/ 0 w 264340"/>
                <a:gd name="connsiteY4" fmla="*/ 226621 h 313756"/>
                <a:gd name="connsiteX5" fmla="*/ 0 w 264340"/>
                <a:gd name="connsiteY5" fmla="*/ 87135 h 313756"/>
                <a:gd name="connsiteX6" fmla="*/ 19806 w 264340"/>
                <a:gd name="connsiteY6" fmla="*/ 34823 h 313756"/>
                <a:gd name="connsiteX7" fmla="*/ 36098 w 264340"/>
                <a:gd name="connsiteY7" fmla="*/ 18570 h 313756"/>
                <a:gd name="connsiteX8" fmla="*/ 85244 w 264340"/>
                <a:gd name="connsiteY8" fmla="*/ 0 h 313756"/>
                <a:gd name="connsiteX9" fmla="*/ 179097 w 264340"/>
                <a:gd name="connsiteY9" fmla="*/ 0 h 313756"/>
                <a:gd name="connsiteX10" fmla="*/ 228243 w 264340"/>
                <a:gd name="connsiteY10" fmla="*/ 18570 h 313756"/>
                <a:gd name="connsiteX11" fmla="*/ 244535 w 264340"/>
                <a:gd name="connsiteY11" fmla="*/ 34823 h 313756"/>
                <a:gd name="connsiteX12" fmla="*/ 264341 w 264340"/>
                <a:gd name="connsiteY12" fmla="*/ 87135 h 313756"/>
                <a:gd name="connsiteX13" fmla="*/ 264341 w 264340"/>
                <a:gd name="connsiteY13" fmla="*/ 155315 h 313756"/>
                <a:gd name="connsiteX14" fmla="*/ 243493 w 264340"/>
                <a:gd name="connsiteY14" fmla="*/ 177398 h 313756"/>
                <a:gd name="connsiteX15" fmla="*/ 46058 w 264340"/>
                <a:gd name="connsiteY15" fmla="*/ 177398 h 313756"/>
                <a:gd name="connsiteX16" fmla="*/ 46058 w 264340"/>
                <a:gd name="connsiteY16" fmla="*/ 229131 h 313756"/>
                <a:gd name="connsiteX17" fmla="*/ 55015 w 264340"/>
                <a:gd name="connsiteY17" fmla="*/ 249361 h 313756"/>
                <a:gd name="connsiteX18" fmla="*/ 69415 w 264340"/>
                <a:gd name="connsiteY18" fmla="*/ 263761 h 313756"/>
                <a:gd name="connsiteX19" fmla="*/ 91499 w 264340"/>
                <a:gd name="connsiteY19" fmla="*/ 272062 h 313756"/>
                <a:gd name="connsiteX20" fmla="*/ 175314 w 264340"/>
                <a:gd name="connsiteY20" fmla="*/ 272062 h 313756"/>
                <a:gd name="connsiteX21" fmla="*/ 201644 w 264340"/>
                <a:gd name="connsiteY21" fmla="*/ 267197 h 313756"/>
                <a:gd name="connsiteX22" fmla="*/ 241562 w 264340"/>
                <a:gd name="connsiteY22" fmla="*/ 247894 h 313756"/>
                <a:gd name="connsiteX23" fmla="*/ 260480 w 264340"/>
                <a:gd name="connsiteY23" fmla="*/ 280323 h 313756"/>
                <a:gd name="connsiteX24" fmla="*/ 224228 w 264340"/>
                <a:gd name="connsiteY24" fmla="*/ 302329 h 313756"/>
                <a:gd name="connsiteX25" fmla="*/ 177900 w 264340"/>
                <a:gd name="connsiteY25" fmla="*/ 313757 h 313756"/>
                <a:gd name="connsiteX26" fmla="*/ 46136 w 264340"/>
                <a:gd name="connsiteY26" fmla="*/ 137131 h 313756"/>
                <a:gd name="connsiteX27" fmla="*/ 218978 w 264340"/>
                <a:gd name="connsiteY27" fmla="*/ 137131 h 313756"/>
                <a:gd name="connsiteX28" fmla="*/ 218978 w 264340"/>
                <a:gd name="connsiteY28" fmla="*/ 84008 h 313756"/>
                <a:gd name="connsiteX29" fmla="*/ 209403 w 264340"/>
                <a:gd name="connsiteY29" fmla="*/ 63778 h 313756"/>
                <a:gd name="connsiteX30" fmla="*/ 195003 w 264340"/>
                <a:gd name="connsiteY30" fmla="*/ 49378 h 313756"/>
                <a:gd name="connsiteX31" fmla="*/ 172881 w 264340"/>
                <a:gd name="connsiteY31" fmla="*/ 41077 h 313756"/>
                <a:gd name="connsiteX32" fmla="*/ 91576 w 264340"/>
                <a:gd name="connsiteY32" fmla="*/ 41077 h 313756"/>
                <a:gd name="connsiteX33" fmla="*/ 69415 w 264340"/>
                <a:gd name="connsiteY33" fmla="*/ 49417 h 313756"/>
                <a:gd name="connsiteX34" fmla="*/ 55092 w 264340"/>
                <a:gd name="connsiteY34" fmla="*/ 63778 h 313756"/>
                <a:gd name="connsiteX35" fmla="*/ 46136 w 264340"/>
                <a:gd name="connsiteY35" fmla="*/ 84008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4340" h="313756">
                  <a:moveTo>
                    <a:pt x="177900" y="313757"/>
                  </a:moveTo>
                  <a:lnTo>
                    <a:pt x="85244" y="313757"/>
                  </a:lnTo>
                  <a:cubicBezTo>
                    <a:pt x="61501" y="313757"/>
                    <a:pt x="50498" y="309587"/>
                    <a:pt x="36098" y="295187"/>
                  </a:cubicBezTo>
                  <a:lnTo>
                    <a:pt x="19806" y="278934"/>
                  </a:lnTo>
                  <a:cubicBezTo>
                    <a:pt x="2587" y="261715"/>
                    <a:pt x="0" y="254882"/>
                    <a:pt x="0" y="226621"/>
                  </a:cubicBezTo>
                  <a:lnTo>
                    <a:pt x="0" y="87135"/>
                  </a:lnTo>
                  <a:cubicBezTo>
                    <a:pt x="0" y="58914"/>
                    <a:pt x="2587" y="52042"/>
                    <a:pt x="19806" y="34823"/>
                  </a:cubicBezTo>
                  <a:lnTo>
                    <a:pt x="36098" y="18570"/>
                  </a:lnTo>
                  <a:cubicBezTo>
                    <a:pt x="50459" y="4169"/>
                    <a:pt x="61501" y="0"/>
                    <a:pt x="85244" y="0"/>
                  </a:cubicBezTo>
                  <a:lnTo>
                    <a:pt x="179097" y="0"/>
                  </a:lnTo>
                  <a:cubicBezTo>
                    <a:pt x="202840" y="0"/>
                    <a:pt x="213843" y="4169"/>
                    <a:pt x="228243" y="18570"/>
                  </a:cubicBezTo>
                  <a:lnTo>
                    <a:pt x="244535" y="34823"/>
                  </a:lnTo>
                  <a:cubicBezTo>
                    <a:pt x="261754" y="52042"/>
                    <a:pt x="264341" y="58914"/>
                    <a:pt x="264341" y="87135"/>
                  </a:cubicBezTo>
                  <a:lnTo>
                    <a:pt x="264341" y="155315"/>
                  </a:lnTo>
                  <a:cubicBezTo>
                    <a:pt x="264341" y="169561"/>
                    <a:pt x="256928" y="177398"/>
                    <a:pt x="243493" y="177398"/>
                  </a:cubicBezTo>
                  <a:lnTo>
                    <a:pt x="46058" y="177398"/>
                  </a:lnTo>
                  <a:lnTo>
                    <a:pt x="46058" y="229131"/>
                  </a:lnTo>
                  <a:cubicBezTo>
                    <a:pt x="46058" y="238512"/>
                    <a:pt x="47564" y="241910"/>
                    <a:pt x="55015" y="249361"/>
                  </a:cubicBezTo>
                  <a:lnTo>
                    <a:pt x="69415" y="263761"/>
                  </a:lnTo>
                  <a:cubicBezTo>
                    <a:pt x="77136" y="271482"/>
                    <a:pt x="79298" y="272062"/>
                    <a:pt x="91499" y="272062"/>
                  </a:cubicBezTo>
                  <a:lnTo>
                    <a:pt x="175314" y="272062"/>
                  </a:lnTo>
                  <a:cubicBezTo>
                    <a:pt x="184345" y="272456"/>
                    <a:pt x="193349" y="270793"/>
                    <a:pt x="201644" y="267197"/>
                  </a:cubicBezTo>
                  <a:lnTo>
                    <a:pt x="241562" y="247894"/>
                  </a:lnTo>
                  <a:lnTo>
                    <a:pt x="260480" y="280323"/>
                  </a:lnTo>
                  <a:lnTo>
                    <a:pt x="224228" y="302329"/>
                  </a:lnTo>
                  <a:cubicBezTo>
                    <a:pt x="209403" y="311595"/>
                    <a:pt x="200716" y="313757"/>
                    <a:pt x="177900" y="313757"/>
                  </a:cubicBezTo>
                  <a:close/>
                  <a:moveTo>
                    <a:pt x="46136" y="137131"/>
                  </a:moveTo>
                  <a:lnTo>
                    <a:pt x="218978" y="137131"/>
                  </a:lnTo>
                  <a:lnTo>
                    <a:pt x="218978" y="84008"/>
                  </a:lnTo>
                  <a:cubicBezTo>
                    <a:pt x="218978" y="74704"/>
                    <a:pt x="216932" y="71307"/>
                    <a:pt x="209403" y="63778"/>
                  </a:cubicBezTo>
                  <a:lnTo>
                    <a:pt x="195003" y="49378"/>
                  </a:lnTo>
                  <a:cubicBezTo>
                    <a:pt x="187281" y="42236"/>
                    <a:pt x="185081" y="41077"/>
                    <a:pt x="172881" y="41077"/>
                  </a:cubicBezTo>
                  <a:lnTo>
                    <a:pt x="91576" y="41077"/>
                  </a:lnTo>
                  <a:cubicBezTo>
                    <a:pt x="79414" y="41077"/>
                    <a:pt x="77252" y="42236"/>
                    <a:pt x="69415" y="49417"/>
                  </a:cubicBezTo>
                  <a:lnTo>
                    <a:pt x="55092" y="63778"/>
                  </a:lnTo>
                  <a:cubicBezTo>
                    <a:pt x="47641" y="71229"/>
                    <a:pt x="46136" y="74627"/>
                    <a:pt x="46136" y="84008"/>
                  </a:cubicBezTo>
                  <a:close/>
                </a:path>
              </a:pathLst>
            </a:custGeom>
            <a:grpFill/>
            <a:ln w="3861" cap="flat">
              <a:noFill/>
              <a:prstDash val="solid"/>
              <a:miter/>
            </a:ln>
          </p:spPr>
          <p:txBody>
            <a:bodyPr rtlCol="0" anchor="ctr"/>
            <a:lstStyle/>
            <a:p>
              <a:endParaRPr lang="en-US"/>
            </a:p>
          </p:txBody>
        </p:sp>
        <p:sp>
          <p:nvSpPr>
            <p:cNvPr id="206" name="Freeform: Shape 205">
              <a:extLst>
                <a:ext uri="{FF2B5EF4-FFF2-40B4-BE49-F238E27FC236}">
                  <a16:creationId xmlns:a16="http://schemas.microsoft.com/office/drawing/2014/main" id="{232F43A2-F011-C43C-7854-821D15CEDFF9}"/>
                </a:ext>
              </a:extLst>
            </p:cNvPr>
            <p:cNvSpPr/>
            <p:nvPr/>
          </p:nvSpPr>
          <p:spPr>
            <a:xfrm>
              <a:off x="10593372" y="7230782"/>
              <a:ext cx="250982" cy="313756"/>
            </a:xfrm>
            <a:custGeom>
              <a:avLst/>
              <a:gdLst>
                <a:gd name="connsiteX0" fmla="*/ 168326 w 250982"/>
                <a:gd name="connsiteY0" fmla="*/ 313757 h 313756"/>
                <a:gd name="connsiteX1" fmla="*/ 85244 w 250982"/>
                <a:gd name="connsiteY1" fmla="*/ 313757 h 313756"/>
                <a:gd name="connsiteX2" fmla="*/ 36059 w 250982"/>
                <a:gd name="connsiteY2" fmla="*/ 295187 h 313756"/>
                <a:gd name="connsiteX3" fmla="*/ 19806 w 250982"/>
                <a:gd name="connsiteY3" fmla="*/ 278934 h 313756"/>
                <a:gd name="connsiteX4" fmla="*/ 0 w 250982"/>
                <a:gd name="connsiteY4" fmla="*/ 226621 h 313756"/>
                <a:gd name="connsiteX5" fmla="*/ 0 w 250982"/>
                <a:gd name="connsiteY5" fmla="*/ 87135 h 313756"/>
                <a:gd name="connsiteX6" fmla="*/ 19806 w 250982"/>
                <a:gd name="connsiteY6" fmla="*/ 34823 h 313756"/>
                <a:gd name="connsiteX7" fmla="*/ 36059 w 250982"/>
                <a:gd name="connsiteY7" fmla="*/ 18570 h 313756"/>
                <a:gd name="connsiteX8" fmla="*/ 85244 w 250982"/>
                <a:gd name="connsiteY8" fmla="*/ 0 h 313756"/>
                <a:gd name="connsiteX9" fmla="*/ 164040 w 250982"/>
                <a:gd name="connsiteY9" fmla="*/ 0 h 313756"/>
                <a:gd name="connsiteX10" fmla="*/ 210368 w 250982"/>
                <a:gd name="connsiteY10" fmla="*/ 11582 h 313756"/>
                <a:gd name="connsiteX11" fmla="*/ 246620 w 250982"/>
                <a:gd name="connsiteY11" fmla="*/ 32275 h 313756"/>
                <a:gd name="connsiteX12" fmla="*/ 228437 w 250982"/>
                <a:gd name="connsiteY12" fmla="*/ 66635 h 313756"/>
                <a:gd name="connsiteX13" fmla="*/ 187784 w 250982"/>
                <a:gd name="connsiteY13" fmla="*/ 47911 h 313756"/>
                <a:gd name="connsiteX14" fmla="*/ 161492 w 250982"/>
                <a:gd name="connsiteY14" fmla="*/ 43046 h 313756"/>
                <a:gd name="connsiteX15" fmla="*/ 91460 w 250982"/>
                <a:gd name="connsiteY15" fmla="*/ 43046 h 313756"/>
                <a:gd name="connsiteX16" fmla="*/ 69300 w 250982"/>
                <a:gd name="connsiteY16" fmla="*/ 51424 h 313756"/>
                <a:gd name="connsiteX17" fmla="*/ 54976 w 250982"/>
                <a:gd name="connsiteY17" fmla="*/ 65786 h 313756"/>
                <a:gd name="connsiteX18" fmla="*/ 45981 w 250982"/>
                <a:gd name="connsiteY18" fmla="*/ 86016 h 313756"/>
                <a:gd name="connsiteX19" fmla="*/ 45981 w 250982"/>
                <a:gd name="connsiteY19" fmla="*/ 227857 h 313756"/>
                <a:gd name="connsiteX20" fmla="*/ 54937 w 250982"/>
                <a:gd name="connsiteY20" fmla="*/ 248125 h 313756"/>
                <a:gd name="connsiteX21" fmla="*/ 69338 w 250982"/>
                <a:gd name="connsiteY21" fmla="*/ 262487 h 313756"/>
                <a:gd name="connsiteX22" fmla="*/ 91460 w 250982"/>
                <a:gd name="connsiteY22" fmla="*/ 270826 h 313756"/>
                <a:gd name="connsiteX23" fmla="*/ 165893 w 250982"/>
                <a:gd name="connsiteY23" fmla="*/ 270826 h 313756"/>
                <a:gd name="connsiteX24" fmla="*/ 192223 w 250982"/>
                <a:gd name="connsiteY24" fmla="*/ 265923 h 313756"/>
                <a:gd name="connsiteX25" fmla="*/ 232799 w 250982"/>
                <a:gd name="connsiteY25" fmla="*/ 246620 h 313756"/>
                <a:gd name="connsiteX26" fmla="*/ 250982 w 250982"/>
                <a:gd name="connsiteY26" fmla="*/ 280285 h 313756"/>
                <a:gd name="connsiteX27" fmla="*/ 214808 w 250982"/>
                <a:gd name="connsiteY27" fmla="*/ 302291 h 313756"/>
                <a:gd name="connsiteX28" fmla="*/ 168326 w 250982"/>
                <a:gd name="connsiteY28" fmla="*/ 313757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0982" h="313756">
                  <a:moveTo>
                    <a:pt x="168326" y="313757"/>
                  </a:moveTo>
                  <a:lnTo>
                    <a:pt x="85244" y="313757"/>
                  </a:lnTo>
                  <a:cubicBezTo>
                    <a:pt x="61501" y="313757"/>
                    <a:pt x="50498" y="309587"/>
                    <a:pt x="36059" y="295187"/>
                  </a:cubicBezTo>
                  <a:lnTo>
                    <a:pt x="19806" y="278934"/>
                  </a:lnTo>
                  <a:cubicBezTo>
                    <a:pt x="2587" y="261715"/>
                    <a:pt x="0" y="254882"/>
                    <a:pt x="0" y="226621"/>
                  </a:cubicBezTo>
                  <a:lnTo>
                    <a:pt x="0" y="87135"/>
                  </a:lnTo>
                  <a:cubicBezTo>
                    <a:pt x="0" y="58914"/>
                    <a:pt x="2587" y="52042"/>
                    <a:pt x="19806" y="34823"/>
                  </a:cubicBezTo>
                  <a:lnTo>
                    <a:pt x="36059" y="18570"/>
                  </a:lnTo>
                  <a:cubicBezTo>
                    <a:pt x="50459" y="4169"/>
                    <a:pt x="61501" y="0"/>
                    <a:pt x="85244" y="0"/>
                  </a:cubicBezTo>
                  <a:lnTo>
                    <a:pt x="164040" y="0"/>
                  </a:lnTo>
                  <a:cubicBezTo>
                    <a:pt x="186393" y="0"/>
                    <a:pt x="194925" y="2741"/>
                    <a:pt x="210368" y="11582"/>
                  </a:cubicBezTo>
                  <a:lnTo>
                    <a:pt x="246620" y="32275"/>
                  </a:lnTo>
                  <a:lnTo>
                    <a:pt x="228437" y="66635"/>
                  </a:lnTo>
                  <a:lnTo>
                    <a:pt x="187784" y="47911"/>
                  </a:lnTo>
                  <a:cubicBezTo>
                    <a:pt x="179505" y="44305"/>
                    <a:pt x="170512" y="42641"/>
                    <a:pt x="161492" y="43046"/>
                  </a:cubicBezTo>
                  <a:lnTo>
                    <a:pt x="91460" y="43046"/>
                  </a:lnTo>
                  <a:cubicBezTo>
                    <a:pt x="79260" y="43046"/>
                    <a:pt x="77097" y="44205"/>
                    <a:pt x="69300" y="51424"/>
                  </a:cubicBezTo>
                  <a:lnTo>
                    <a:pt x="54976" y="65786"/>
                  </a:lnTo>
                  <a:cubicBezTo>
                    <a:pt x="47486" y="73237"/>
                    <a:pt x="45981" y="76634"/>
                    <a:pt x="45981" y="86016"/>
                  </a:cubicBezTo>
                  <a:lnTo>
                    <a:pt x="45981" y="227857"/>
                  </a:lnTo>
                  <a:cubicBezTo>
                    <a:pt x="45981" y="237238"/>
                    <a:pt x="47486" y="240674"/>
                    <a:pt x="54937" y="248125"/>
                  </a:cubicBezTo>
                  <a:lnTo>
                    <a:pt x="69338" y="262487"/>
                  </a:lnTo>
                  <a:cubicBezTo>
                    <a:pt x="77059" y="269668"/>
                    <a:pt x="79260" y="270826"/>
                    <a:pt x="91460" y="270826"/>
                  </a:cubicBezTo>
                  <a:lnTo>
                    <a:pt x="165893" y="270826"/>
                  </a:lnTo>
                  <a:cubicBezTo>
                    <a:pt x="174929" y="271228"/>
                    <a:pt x="183937" y="269551"/>
                    <a:pt x="192223" y="265923"/>
                  </a:cubicBezTo>
                  <a:lnTo>
                    <a:pt x="232799" y="246620"/>
                  </a:lnTo>
                  <a:lnTo>
                    <a:pt x="250982" y="280285"/>
                  </a:lnTo>
                  <a:lnTo>
                    <a:pt x="214808" y="302291"/>
                  </a:lnTo>
                  <a:cubicBezTo>
                    <a:pt x="199790" y="311595"/>
                    <a:pt x="191142" y="313757"/>
                    <a:pt x="168326" y="313757"/>
                  </a:cubicBezTo>
                  <a:close/>
                </a:path>
              </a:pathLst>
            </a:custGeom>
            <a:grpFill/>
            <a:ln w="3861" cap="flat">
              <a:noFill/>
              <a:prstDash val="solid"/>
              <a:miter/>
            </a:ln>
          </p:spPr>
          <p:txBody>
            <a:bodyPr rtlCol="0" anchor="ctr"/>
            <a:lstStyle/>
            <a:p>
              <a:endParaRPr lang="en-US"/>
            </a:p>
          </p:txBody>
        </p:sp>
        <p:sp>
          <p:nvSpPr>
            <p:cNvPr id="207" name="Freeform: Shape 206">
              <a:extLst>
                <a:ext uri="{FF2B5EF4-FFF2-40B4-BE49-F238E27FC236}">
                  <a16:creationId xmlns:a16="http://schemas.microsoft.com/office/drawing/2014/main" id="{9AD62ABD-BAA3-031B-6804-BF508C4F4AC1}"/>
                </a:ext>
              </a:extLst>
            </p:cNvPr>
            <p:cNvSpPr/>
            <p:nvPr/>
          </p:nvSpPr>
          <p:spPr>
            <a:xfrm>
              <a:off x="10904697" y="7230666"/>
              <a:ext cx="268624" cy="313946"/>
            </a:xfrm>
            <a:custGeom>
              <a:avLst/>
              <a:gdLst>
                <a:gd name="connsiteX0" fmla="*/ 184077 w 268624"/>
                <a:gd name="connsiteY0" fmla="*/ 313873 h 313946"/>
                <a:gd name="connsiteX1" fmla="*/ 85243 w 268624"/>
                <a:gd name="connsiteY1" fmla="*/ 313873 h 313946"/>
                <a:gd name="connsiteX2" fmla="*/ 36097 w 268624"/>
                <a:gd name="connsiteY2" fmla="*/ 295303 h 313946"/>
                <a:gd name="connsiteX3" fmla="*/ 19805 w 268624"/>
                <a:gd name="connsiteY3" fmla="*/ 279049 h 313946"/>
                <a:gd name="connsiteX4" fmla="*/ 0 w 268624"/>
                <a:gd name="connsiteY4" fmla="*/ 226737 h 313946"/>
                <a:gd name="connsiteX5" fmla="*/ 0 w 268624"/>
                <a:gd name="connsiteY5" fmla="*/ 203573 h 313946"/>
                <a:gd name="connsiteX6" fmla="*/ 19805 w 268624"/>
                <a:gd name="connsiteY6" fmla="*/ 151261 h 313946"/>
                <a:gd name="connsiteX7" fmla="*/ 36058 w 268624"/>
                <a:gd name="connsiteY7" fmla="*/ 135008 h 313946"/>
                <a:gd name="connsiteX8" fmla="*/ 85243 w 268624"/>
                <a:gd name="connsiteY8" fmla="*/ 116476 h 313946"/>
                <a:gd name="connsiteX9" fmla="*/ 165313 w 268624"/>
                <a:gd name="connsiteY9" fmla="*/ 116476 h 313946"/>
                <a:gd name="connsiteX10" fmla="*/ 198245 w 268624"/>
                <a:gd name="connsiteY10" fmla="*/ 120878 h 313946"/>
                <a:gd name="connsiteX11" fmla="*/ 222645 w 268624"/>
                <a:gd name="connsiteY11" fmla="*/ 127865 h 313946"/>
                <a:gd name="connsiteX12" fmla="*/ 222645 w 268624"/>
                <a:gd name="connsiteY12" fmla="*/ 84742 h 313946"/>
                <a:gd name="connsiteX13" fmla="*/ 213688 w 268624"/>
                <a:gd name="connsiteY13" fmla="*/ 64512 h 313946"/>
                <a:gd name="connsiteX14" fmla="*/ 199326 w 268624"/>
                <a:gd name="connsiteY14" fmla="*/ 50111 h 313946"/>
                <a:gd name="connsiteX15" fmla="*/ 177204 w 268624"/>
                <a:gd name="connsiteY15" fmla="*/ 41811 h 313946"/>
                <a:gd name="connsiteX16" fmla="*/ 99644 w 268624"/>
                <a:gd name="connsiteY16" fmla="*/ 41811 h 313946"/>
                <a:gd name="connsiteX17" fmla="*/ 75244 w 268624"/>
                <a:gd name="connsiteY17" fmla="*/ 46676 h 313946"/>
                <a:gd name="connsiteX18" fmla="*/ 34013 w 268624"/>
                <a:gd name="connsiteY18" fmla="*/ 66635 h 313946"/>
                <a:gd name="connsiteX19" fmla="*/ 15134 w 268624"/>
                <a:gd name="connsiteY19" fmla="*/ 33588 h 313946"/>
                <a:gd name="connsiteX20" fmla="*/ 51347 w 268624"/>
                <a:gd name="connsiteY20" fmla="*/ 11582 h 313946"/>
                <a:gd name="connsiteX21" fmla="*/ 97675 w 268624"/>
                <a:gd name="connsiteY21" fmla="*/ 0 h 313946"/>
                <a:gd name="connsiteX22" fmla="*/ 183382 w 268624"/>
                <a:gd name="connsiteY22" fmla="*/ 0 h 313946"/>
                <a:gd name="connsiteX23" fmla="*/ 232567 w 268624"/>
                <a:gd name="connsiteY23" fmla="*/ 18570 h 313946"/>
                <a:gd name="connsiteX24" fmla="*/ 248820 w 268624"/>
                <a:gd name="connsiteY24" fmla="*/ 34823 h 313946"/>
                <a:gd name="connsiteX25" fmla="*/ 268625 w 268624"/>
                <a:gd name="connsiteY25" fmla="*/ 87135 h 313946"/>
                <a:gd name="connsiteX26" fmla="*/ 268625 w 268624"/>
                <a:gd name="connsiteY26" fmla="*/ 268587 h 313946"/>
                <a:gd name="connsiteX27" fmla="*/ 252102 w 268624"/>
                <a:gd name="connsiteY27" fmla="*/ 294338 h 313946"/>
                <a:gd name="connsiteX28" fmla="*/ 220830 w 268624"/>
                <a:gd name="connsiteY28" fmla="*/ 306846 h 313946"/>
                <a:gd name="connsiteX29" fmla="*/ 184077 w 268624"/>
                <a:gd name="connsiteY29" fmla="*/ 313873 h 313946"/>
                <a:gd name="connsiteX30" fmla="*/ 90880 w 268624"/>
                <a:gd name="connsiteY30" fmla="*/ 158133 h 313946"/>
                <a:gd name="connsiteX31" fmla="*/ 68759 w 268624"/>
                <a:gd name="connsiteY31" fmla="*/ 166472 h 313946"/>
                <a:gd name="connsiteX32" fmla="*/ 55015 w 268624"/>
                <a:gd name="connsiteY32" fmla="*/ 180216 h 313946"/>
                <a:gd name="connsiteX33" fmla="*/ 46058 w 268624"/>
                <a:gd name="connsiteY33" fmla="*/ 200485 h 313946"/>
                <a:gd name="connsiteX34" fmla="*/ 46058 w 268624"/>
                <a:gd name="connsiteY34" fmla="*/ 229903 h 313946"/>
                <a:gd name="connsiteX35" fmla="*/ 55015 w 268624"/>
                <a:gd name="connsiteY35" fmla="*/ 250133 h 313946"/>
                <a:gd name="connsiteX36" fmla="*/ 68759 w 268624"/>
                <a:gd name="connsiteY36" fmla="*/ 263915 h 313946"/>
                <a:gd name="connsiteX37" fmla="*/ 90880 w 268624"/>
                <a:gd name="connsiteY37" fmla="*/ 272216 h 313946"/>
                <a:gd name="connsiteX38" fmla="*/ 180332 w 268624"/>
                <a:gd name="connsiteY38" fmla="*/ 272216 h 313946"/>
                <a:gd name="connsiteX39" fmla="*/ 192956 w 268624"/>
                <a:gd name="connsiteY39" fmla="*/ 269822 h 313946"/>
                <a:gd name="connsiteX40" fmla="*/ 219981 w 268624"/>
                <a:gd name="connsiteY40" fmla="*/ 259205 h 313946"/>
                <a:gd name="connsiteX41" fmla="*/ 222799 w 268624"/>
                <a:gd name="connsiteY41" fmla="*/ 254920 h 313946"/>
                <a:gd name="connsiteX42" fmla="*/ 222799 w 268624"/>
                <a:gd name="connsiteY42" fmla="*/ 175429 h 313946"/>
                <a:gd name="connsiteX43" fmla="*/ 217626 w 268624"/>
                <a:gd name="connsiteY43" fmla="*/ 169329 h 313946"/>
                <a:gd name="connsiteX44" fmla="*/ 186355 w 268624"/>
                <a:gd name="connsiteY44" fmla="*/ 160565 h 313946"/>
                <a:gd name="connsiteX45" fmla="*/ 164233 w 268624"/>
                <a:gd name="connsiteY45" fmla="*/ 158133 h 31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8624" h="313946">
                  <a:moveTo>
                    <a:pt x="184077" y="313873"/>
                  </a:moveTo>
                  <a:lnTo>
                    <a:pt x="85243" y="313873"/>
                  </a:lnTo>
                  <a:cubicBezTo>
                    <a:pt x="61500" y="313873"/>
                    <a:pt x="50497" y="309703"/>
                    <a:pt x="36097" y="295303"/>
                  </a:cubicBezTo>
                  <a:lnTo>
                    <a:pt x="19805" y="279049"/>
                  </a:lnTo>
                  <a:cubicBezTo>
                    <a:pt x="2586" y="261831"/>
                    <a:pt x="0" y="254959"/>
                    <a:pt x="0" y="226737"/>
                  </a:cubicBezTo>
                  <a:lnTo>
                    <a:pt x="0" y="203573"/>
                  </a:lnTo>
                  <a:cubicBezTo>
                    <a:pt x="0" y="175352"/>
                    <a:pt x="2586" y="168518"/>
                    <a:pt x="19805" y="151261"/>
                  </a:cubicBezTo>
                  <a:lnTo>
                    <a:pt x="36058" y="135008"/>
                  </a:lnTo>
                  <a:cubicBezTo>
                    <a:pt x="50497" y="120607"/>
                    <a:pt x="61500" y="116476"/>
                    <a:pt x="85243" y="116476"/>
                  </a:cubicBezTo>
                  <a:lnTo>
                    <a:pt x="165313" y="116476"/>
                  </a:lnTo>
                  <a:cubicBezTo>
                    <a:pt x="176448" y="116316"/>
                    <a:pt x="187544" y="117799"/>
                    <a:pt x="198245" y="120878"/>
                  </a:cubicBezTo>
                  <a:lnTo>
                    <a:pt x="222645" y="127865"/>
                  </a:lnTo>
                  <a:lnTo>
                    <a:pt x="222645" y="84742"/>
                  </a:lnTo>
                  <a:cubicBezTo>
                    <a:pt x="222645" y="75360"/>
                    <a:pt x="221139" y="71963"/>
                    <a:pt x="213688" y="64512"/>
                  </a:cubicBezTo>
                  <a:lnTo>
                    <a:pt x="199326" y="50111"/>
                  </a:lnTo>
                  <a:cubicBezTo>
                    <a:pt x="191605" y="42969"/>
                    <a:pt x="189405" y="41811"/>
                    <a:pt x="177204" y="41811"/>
                  </a:cubicBezTo>
                  <a:lnTo>
                    <a:pt x="99644" y="41811"/>
                  </a:lnTo>
                  <a:cubicBezTo>
                    <a:pt x="91230" y="41337"/>
                    <a:pt x="82834" y="43011"/>
                    <a:pt x="75244" y="46676"/>
                  </a:cubicBezTo>
                  <a:lnTo>
                    <a:pt x="34013" y="66635"/>
                  </a:lnTo>
                  <a:lnTo>
                    <a:pt x="15134" y="33588"/>
                  </a:lnTo>
                  <a:lnTo>
                    <a:pt x="51347" y="11582"/>
                  </a:lnTo>
                  <a:cubicBezTo>
                    <a:pt x="66287" y="2278"/>
                    <a:pt x="74935" y="0"/>
                    <a:pt x="97675" y="0"/>
                  </a:cubicBezTo>
                  <a:lnTo>
                    <a:pt x="183382" y="0"/>
                  </a:lnTo>
                  <a:cubicBezTo>
                    <a:pt x="207125" y="0"/>
                    <a:pt x="218128" y="4169"/>
                    <a:pt x="232567" y="18570"/>
                  </a:cubicBezTo>
                  <a:lnTo>
                    <a:pt x="248820" y="34823"/>
                  </a:lnTo>
                  <a:cubicBezTo>
                    <a:pt x="266039" y="52042"/>
                    <a:pt x="268625" y="58914"/>
                    <a:pt x="268625" y="87135"/>
                  </a:cubicBezTo>
                  <a:lnTo>
                    <a:pt x="268625" y="268587"/>
                  </a:lnTo>
                  <a:cubicBezTo>
                    <a:pt x="268625" y="281945"/>
                    <a:pt x="263838" y="289396"/>
                    <a:pt x="252102" y="294338"/>
                  </a:cubicBezTo>
                  <a:lnTo>
                    <a:pt x="220830" y="306846"/>
                  </a:lnTo>
                  <a:cubicBezTo>
                    <a:pt x="209290" y="312006"/>
                    <a:pt x="196707" y="314411"/>
                    <a:pt x="184077" y="313873"/>
                  </a:cubicBezTo>
                  <a:close/>
                  <a:moveTo>
                    <a:pt x="90880" y="158133"/>
                  </a:moveTo>
                  <a:cubicBezTo>
                    <a:pt x="80032" y="158133"/>
                    <a:pt x="76055" y="159175"/>
                    <a:pt x="68759" y="166472"/>
                  </a:cubicBezTo>
                  <a:lnTo>
                    <a:pt x="55015" y="180216"/>
                  </a:lnTo>
                  <a:cubicBezTo>
                    <a:pt x="47563" y="187667"/>
                    <a:pt x="46058" y="191065"/>
                    <a:pt x="46058" y="200485"/>
                  </a:cubicBezTo>
                  <a:lnTo>
                    <a:pt x="46058" y="229903"/>
                  </a:lnTo>
                  <a:cubicBezTo>
                    <a:pt x="46058" y="239284"/>
                    <a:pt x="47563" y="242682"/>
                    <a:pt x="55015" y="250133"/>
                  </a:cubicBezTo>
                  <a:lnTo>
                    <a:pt x="68759" y="263915"/>
                  </a:lnTo>
                  <a:cubicBezTo>
                    <a:pt x="76480" y="271058"/>
                    <a:pt x="78680" y="272216"/>
                    <a:pt x="90880" y="272216"/>
                  </a:cubicBezTo>
                  <a:lnTo>
                    <a:pt x="180332" y="272216"/>
                  </a:lnTo>
                  <a:cubicBezTo>
                    <a:pt x="184661" y="272304"/>
                    <a:pt x="188960" y="271489"/>
                    <a:pt x="192956" y="269822"/>
                  </a:cubicBezTo>
                  <a:lnTo>
                    <a:pt x="219981" y="259205"/>
                  </a:lnTo>
                  <a:cubicBezTo>
                    <a:pt x="222567" y="258163"/>
                    <a:pt x="222799" y="257468"/>
                    <a:pt x="222799" y="254920"/>
                  </a:cubicBezTo>
                  <a:lnTo>
                    <a:pt x="222799" y="175429"/>
                  </a:lnTo>
                  <a:cubicBezTo>
                    <a:pt x="222799" y="171375"/>
                    <a:pt x="221718" y="170487"/>
                    <a:pt x="217626" y="169329"/>
                  </a:cubicBezTo>
                  <a:lnTo>
                    <a:pt x="186355" y="160565"/>
                  </a:lnTo>
                  <a:cubicBezTo>
                    <a:pt x="179122" y="158777"/>
                    <a:pt x="171682" y="157959"/>
                    <a:pt x="164233" y="158133"/>
                  </a:cubicBezTo>
                  <a:close/>
                </a:path>
              </a:pathLst>
            </a:custGeom>
            <a:grpFill/>
            <a:ln w="3861" cap="flat">
              <a:noFill/>
              <a:prstDash val="solid"/>
              <a:miter/>
            </a:ln>
          </p:spPr>
          <p:txBody>
            <a:bodyPr rtlCol="0" anchor="ctr"/>
            <a:lstStyle/>
            <a:p>
              <a:endParaRPr lang="en-US"/>
            </a:p>
          </p:txBody>
        </p:sp>
        <p:sp>
          <p:nvSpPr>
            <p:cNvPr id="208" name="Freeform: Shape 207">
              <a:extLst>
                <a:ext uri="{FF2B5EF4-FFF2-40B4-BE49-F238E27FC236}">
                  <a16:creationId xmlns:a16="http://schemas.microsoft.com/office/drawing/2014/main" id="{A5798900-34A3-733D-F282-D751D27D751A}"/>
                </a:ext>
              </a:extLst>
            </p:cNvPr>
            <p:cNvSpPr/>
            <p:nvPr/>
          </p:nvSpPr>
          <p:spPr>
            <a:xfrm>
              <a:off x="11252427" y="7230782"/>
              <a:ext cx="165507" cy="310011"/>
            </a:xfrm>
            <a:custGeom>
              <a:avLst/>
              <a:gdLst>
                <a:gd name="connsiteX0" fmla="*/ 46058 w 165507"/>
                <a:gd name="connsiteY0" fmla="*/ 310012 h 310011"/>
                <a:gd name="connsiteX1" fmla="*/ 0 w 165507"/>
                <a:gd name="connsiteY1" fmla="*/ 310012 h 310011"/>
                <a:gd name="connsiteX2" fmla="*/ 0 w 165507"/>
                <a:gd name="connsiteY2" fmla="*/ 87135 h 310011"/>
                <a:gd name="connsiteX3" fmla="*/ 19806 w 165507"/>
                <a:gd name="connsiteY3" fmla="*/ 34823 h 310011"/>
                <a:gd name="connsiteX4" fmla="*/ 36059 w 165507"/>
                <a:gd name="connsiteY4" fmla="*/ 18570 h 310011"/>
                <a:gd name="connsiteX5" fmla="*/ 85244 w 165507"/>
                <a:gd name="connsiteY5" fmla="*/ 0 h 310011"/>
                <a:gd name="connsiteX6" fmla="*/ 165507 w 165507"/>
                <a:gd name="connsiteY6" fmla="*/ 0 h 310011"/>
                <a:gd name="connsiteX7" fmla="*/ 165507 w 165507"/>
                <a:gd name="connsiteY7" fmla="*/ 42931 h 310011"/>
                <a:gd name="connsiteX8" fmla="*/ 91499 w 165507"/>
                <a:gd name="connsiteY8" fmla="*/ 42931 h 310011"/>
                <a:gd name="connsiteX9" fmla="*/ 69338 w 165507"/>
                <a:gd name="connsiteY9" fmla="*/ 51308 h 310011"/>
                <a:gd name="connsiteX10" fmla="*/ 55015 w 165507"/>
                <a:gd name="connsiteY10" fmla="*/ 65670 h 310011"/>
                <a:gd name="connsiteX11" fmla="*/ 46058 w 165507"/>
                <a:gd name="connsiteY11" fmla="*/ 85900 h 31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507" h="310011">
                  <a:moveTo>
                    <a:pt x="46058" y="310012"/>
                  </a:moveTo>
                  <a:lnTo>
                    <a:pt x="0" y="310012"/>
                  </a:lnTo>
                  <a:lnTo>
                    <a:pt x="0" y="87135"/>
                  </a:lnTo>
                  <a:cubicBezTo>
                    <a:pt x="0" y="58914"/>
                    <a:pt x="2587" y="52042"/>
                    <a:pt x="19806" y="34823"/>
                  </a:cubicBezTo>
                  <a:lnTo>
                    <a:pt x="36059" y="18570"/>
                  </a:lnTo>
                  <a:cubicBezTo>
                    <a:pt x="50459" y="4169"/>
                    <a:pt x="61501" y="0"/>
                    <a:pt x="85244" y="0"/>
                  </a:cubicBezTo>
                  <a:lnTo>
                    <a:pt x="165507" y="0"/>
                  </a:lnTo>
                  <a:lnTo>
                    <a:pt x="165507" y="42931"/>
                  </a:lnTo>
                  <a:lnTo>
                    <a:pt x="91499" y="42931"/>
                  </a:lnTo>
                  <a:cubicBezTo>
                    <a:pt x="79298" y="42931"/>
                    <a:pt x="77176" y="44089"/>
                    <a:pt x="69338" y="51308"/>
                  </a:cubicBezTo>
                  <a:lnTo>
                    <a:pt x="55015" y="65670"/>
                  </a:lnTo>
                  <a:cubicBezTo>
                    <a:pt x="47564" y="73121"/>
                    <a:pt x="46058" y="76518"/>
                    <a:pt x="46058" y="85900"/>
                  </a:cubicBezTo>
                  <a:close/>
                </a:path>
              </a:pathLst>
            </a:custGeom>
            <a:grpFill/>
            <a:ln w="3861" cap="flat">
              <a:noFill/>
              <a:prstDash val="solid"/>
              <a:miter/>
            </a:ln>
          </p:spPr>
          <p:txBody>
            <a:bodyPr rtlCol="0" anchor="ctr"/>
            <a:lstStyle/>
            <a:p>
              <a:endParaRPr lang="en-US"/>
            </a:p>
          </p:txBody>
        </p:sp>
        <p:sp>
          <p:nvSpPr>
            <p:cNvPr id="209" name="Freeform: Shape 208">
              <a:extLst>
                <a:ext uri="{FF2B5EF4-FFF2-40B4-BE49-F238E27FC236}">
                  <a16:creationId xmlns:a16="http://schemas.microsoft.com/office/drawing/2014/main" id="{DE6DAF3D-74DD-86EC-DA66-8304E36A9DEB}"/>
                </a:ext>
              </a:extLst>
            </p:cNvPr>
            <p:cNvSpPr/>
            <p:nvPr/>
          </p:nvSpPr>
          <p:spPr>
            <a:xfrm>
              <a:off x="11462449" y="7230782"/>
              <a:ext cx="264340" cy="313756"/>
            </a:xfrm>
            <a:custGeom>
              <a:avLst/>
              <a:gdLst>
                <a:gd name="connsiteX0" fmla="*/ 177939 w 264340"/>
                <a:gd name="connsiteY0" fmla="*/ 313757 h 313756"/>
                <a:gd name="connsiteX1" fmla="*/ 85283 w 264340"/>
                <a:gd name="connsiteY1" fmla="*/ 313757 h 313756"/>
                <a:gd name="connsiteX2" fmla="*/ 36097 w 264340"/>
                <a:gd name="connsiteY2" fmla="*/ 295187 h 313756"/>
                <a:gd name="connsiteX3" fmla="*/ 19805 w 264340"/>
                <a:gd name="connsiteY3" fmla="*/ 278934 h 313756"/>
                <a:gd name="connsiteX4" fmla="*/ 0 w 264340"/>
                <a:gd name="connsiteY4" fmla="*/ 226621 h 313756"/>
                <a:gd name="connsiteX5" fmla="*/ 0 w 264340"/>
                <a:gd name="connsiteY5" fmla="*/ 87135 h 313756"/>
                <a:gd name="connsiteX6" fmla="*/ 19805 w 264340"/>
                <a:gd name="connsiteY6" fmla="*/ 34823 h 313756"/>
                <a:gd name="connsiteX7" fmla="*/ 36097 w 264340"/>
                <a:gd name="connsiteY7" fmla="*/ 18570 h 313756"/>
                <a:gd name="connsiteX8" fmla="*/ 85283 w 264340"/>
                <a:gd name="connsiteY8" fmla="*/ 0 h 313756"/>
                <a:gd name="connsiteX9" fmla="*/ 179096 w 264340"/>
                <a:gd name="connsiteY9" fmla="*/ 0 h 313756"/>
                <a:gd name="connsiteX10" fmla="*/ 228281 w 264340"/>
                <a:gd name="connsiteY10" fmla="*/ 18570 h 313756"/>
                <a:gd name="connsiteX11" fmla="*/ 244535 w 264340"/>
                <a:gd name="connsiteY11" fmla="*/ 34823 h 313756"/>
                <a:gd name="connsiteX12" fmla="*/ 264340 w 264340"/>
                <a:gd name="connsiteY12" fmla="*/ 87135 h 313756"/>
                <a:gd name="connsiteX13" fmla="*/ 264340 w 264340"/>
                <a:gd name="connsiteY13" fmla="*/ 155315 h 313756"/>
                <a:gd name="connsiteX14" fmla="*/ 243493 w 264340"/>
                <a:gd name="connsiteY14" fmla="*/ 177398 h 313756"/>
                <a:gd name="connsiteX15" fmla="*/ 46212 w 264340"/>
                <a:gd name="connsiteY15" fmla="*/ 177398 h 313756"/>
                <a:gd name="connsiteX16" fmla="*/ 46212 w 264340"/>
                <a:gd name="connsiteY16" fmla="*/ 229131 h 313756"/>
                <a:gd name="connsiteX17" fmla="*/ 55169 w 264340"/>
                <a:gd name="connsiteY17" fmla="*/ 249361 h 313756"/>
                <a:gd name="connsiteX18" fmla="*/ 69569 w 264340"/>
                <a:gd name="connsiteY18" fmla="*/ 263761 h 313756"/>
                <a:gd name="connsiteX19" fmla="*/ 91691 w 264340"/>
                <a:gd name="connsiteY19" fmla="*/ 272062 h 313756"/>
                <a:gd name="connsiteX20" fmla="*/ 175467 w 264340"/>
                <a:gd name="connsiteY20" fmla="*/ 272062 h 313756"/>
                <a:gd name="connsiteX21" fmla="*/ 201797 w 264340"/>
                <a:gd name="connsiteY21" fmla="*/ 267197 h 313756"/>
                <a:gd name="connsiteX22" fmla="*/ 241755 w 264340"/>
                <a:gd name="connsiteY22" fmla="*/ 247894 h 313756"/>
                <a:gd name="connsiteX23" fmla="*/ 260634 w 264340"/>
                <a:gd name="connsiteY23" fmla="*/ 280323 h 313756"/>
                <a:gd name="connsiteX24" fmla="*/ 224382 w 264340"/>
                <a:gd name="connsiteY24" fmla="*/ 302329 h 313756"/>
                <a:gd name="connsiteX25" fmla="*/ 177939 w 264340"/>
                <a:gd name="connsiteY25" fmla="*/ 313757 h 313756"/>
                <a:gd name="connsiteX26" fmla="*/ 46212 w 264340"/>
                <a:gd name="connsiteY26" fmla="*/ 137131 h 313756"/>
                <a:gd name="connsiteX27" fmla="*/ 219093 w 264340"/>
                <a:gd name="connsiteY27" fmla="*/ 137131 h 313756"/>
                <a:gd name="connsiteX28" fmla="*/ 219093 w 264340"/>
                <a:gd name="connsiteY28" fmla="*/ 84008 h 313756"/>
                <a:gd name="connsiteX29" fmla="*/ 209480 w 264340"/>
                <a:gd name="connsiteY29" fmla="*/ 63778 h 313756"/>
                <a:gd name="connsiteX30" fmla="*/ 195118 w 264340"/>
                <a:gd name="connsiteY30" fmla="*/ 49378 h 313756"/>
                <a:gd name="connsiteX31" fmla="*/ 172997 w 264340"/>
                <a:gd name="connsiteY31" fmla="*/ 41077 h 313756"/>
                <a:gd name="connsiteX32" fmla="*/ 91691 w 264340"/>
                <a:gd name="connsiteY32" fmla="*/ 41077 h 313756"/>
                <a:gd name="connsiteX33" fmla="*/ 69531 w 264340"/>
                <a:gd name="connsiteY33" fmla="*/ 49417 h 313756"/>
                <a:gd name="connsiteX34" fmla="*/ 55169 w 264340"/>
                <a:gd name="connsiteY34" fmla="*/ 63778 h 313756"/>
                <a:gd name="connsiteX35" fmla="*/ 46212 w 264340"/>
                <a:gd name="connsiteY35" fmla="*/ 84008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4340" h="313756">
                  <a:moveTo>
                    <a:pt x="177939" y="313757"/>
                  </a:moveTo>
                  <a:lnTo>
                    <a:pt x="85283" y="313757"/>
                  </a:lnTo>
                  <a:cubicBezTo>
                    <a:pt x="61500" y="313757"/>
                    <a:pt x="50537" y="309587"/>
                    <a:pt x="36097" y="295187"/>
                  </a:cubicBezTo>
                  <a:lnTo>
                    <a:pt x="19805" y="278934"/>
                  </a:lnTo>
                  <a:cubicBezTo>
                    <a:pt x="2625" y="261715"/>
                    <a:pt x="0" y="254882"/>
                    <a:pt x="0" y="226621"/>
                  </a:cubicBezTo>
                  <a:lnTo>
                    <a:pt x="0" y="87135"/>
                  </a:lnTo>
                  <a:cubicBezTo>
                    <a:pt x="0" y="58914"/>
                    <a:pt x="2625" y="52042"/>
                    <a:pt x="19805" y="34823"/>
                  </a:cubicBezTo>
                  <a:lnTo>
                    <a:pt x="36097" y="18570"/>
                  </a:lnTo>
                  <a:cubicBezTo>
                    <a:pt x="50498" y="4169"/>
                    <a:pt x="61500" y="0"/>
                    <a:pt x="85283" y="0"/>
                  </a:cubicBezTo>
                  <a:lnTo>
                    <a:pt x="179096" y="0"/>
                  </a:lnTo>
                  <a:cubicBezTo>
                    <a:pt x="202840" y="0"/>
                    <a:pt x="213842" y="4169"/>
                    <a:pt x="228281" y="18570"/>
                  </a:cubicBezTo>
                  <a:lnTo>
                    <a:pt x="244535" y="34823"/>
                  </a:lnTo>
                  <a:cubicBezTo>
                    <a:pt x="261754" y="52042"/>
                    <a:pt x="264340" y="58914"/>
                    <a:pt x="264340" y="87135"/>
                  </a:cubicBezTo>
                  <a:lnTo>
                    <a:pt x="264340" y="155315"/>
                  </a:lnTo>
                  <a:cubicBezTo>
                    <a:pt x="264340" y="169561"/>
                    <a:pt x="256928" y="177398"/>
                    <a:pt x="243493" y="177398"/>
                  </a:cubicBezTo>
                  <a:lnTo>
                    <a:pt x="46212" y="177398"/>
                  </a:lnTo>
                  <a:lnTo>
                    <a:pt x="46212" y="229131"/>
                  </a:lnTo>
                  <a:cubicBezTo>
                    <a:pt x="46212" y="238512"/>
                    <a:pt x="47717" y="241910"/>
                    <a:pt x="55169" y="249361"/>
                  </a:cubicBezTo>
                  <a:lnTo>
                    <a:pt x="69569" y="263761"/>
                  </a:lnTo>
                  <a:cubicBezTo>
                    <a:pt x="77291" y="271482"/>
                    <a:pt x="79453" y="272062"/>
                    <a:pt x="91691" y="272062"/>
                  </a:cubicBezTo>
                  <a:lnTo>
                    <a:pt x="175467" y="272062"/>
                  </a:lnTo>
                  <a:cubicBezTo>
                    <a:pt x="184500" y="272459"/>
                    <a:pt x="193503" y="270796"/>
                    <a:pt x="201797" y="267197"/>
                  </a:cubicBezTo>
                  <a:lnTo>
                    <a:pt x="241755" y="247894"/>
                  </a:lnTo>
                  <a:lnTo>
                    <a:pt x="260634" y="280323"/>
                  </a:lnTo>
                  <a:lnTo>
                    <a:pt x="224382" y="302329"/>
                  </a:lnTo>
                  <a:cubicBezTo>
                    <a:pt x="209441" y="311595"/>
                    <a:pt x="200639" y="313757"/>
                    <a:pt x="177939" y="313757"/>
                  </a:cubicBezTo>
                  <a:close/>
                  <a:moveTo>
                    <a:pt x="46212" y="137131"/>
                  </a:moveTo>
                  <a:lnTo>
                    <a:pt x="219093" y="137131"/>
                  </a:lnTo>
                  <a:lnTo>
                    <a:pt x="219093" y="84008"/>
                  </a:lnTo>
                  <a:cubicBezTo>
                    <a:pt x="219093" y="74704"/>
                    <a:pt x="217047" y="71307"/>
                    <a:pt x="209480" y="63778"/>
                  </a:cubicBezTo>
                  <a:lnTo>
                    <a:pt x="195118" y="49378"/>
                  </a:lnTo>
                  <a:cubicBezTo>
                    <a:pt x="187397" y="42236"/>
                    <a:pt x="185196" y="41077"/>
                    <a:pt x="172997" y="41077"/>
                  </a:cubicBezTo>
                  <a:lnTo>
                    <a:pt x="91691" y="41077"/>
                  </a:lnTo>
                  <a:cubicBezTo>
                    <a:pt x="79492" y="41077"/>
                    <a:pt x="77329" y="42236"/>
                    <a:pt x="69531" y="49417"/>
                  </a:cubicBezTo>
                  <a:lnTo>
                    <a:pt x="55169" y="63778"/>
                  </a:lnTo>
                  <a:cubicBezTo>
                    <a:pt x="47717" y="71229"/>
                    <a:pt x="46212" y="74627"/>
                    <a:pt x="46212" y="84008"/>
                  </a:cubicBezTo>
                  <a:close/>
                </a:path>
              </a:pathLst>
            </a:custGeom>
            <a:grpFill/>
            <a:ln w="3861"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9C7747E7-E160-9C74-51D6-DA15A608CAEF}"/>
                </a:ext>
              </a:extLst>
            </p:cNvPr>
            <p:cNvSpPr/>
            <p:nvPr/>
          </p:nvSpPr>
          <p:spPr>
            <a:xfrm>
              <a:off x="11799563" y="7480954"/>
              <a:ext cx="58682" cy="59840"/>
            </a:xfrm>
            <a:custGeom>
              <a:avLst/>
              <a:gdLst>
                <a:gd name="connsiteX0" fmla="*/ 47216 w 58682"/>
                <a:gd name="connsiteY0" fmla="*/ 59840 h 59840"/>
                <a:gd name="connsiteX1" fmla="*/ 11582 w 58682"/>
                <a:gd name="connsiteY1" fmla="*/ 59840 h 59840"/>
                <a:gd name="connsiteX2" fmla="*/ 0 w 58682"/>
                <a:gd name="connsiteY2" fmla="*/ 48992 h 59840"/>
                <a:gd name="connsiteX3" fmla="*/ 0 w 58682"/>
                <a:gd name="connsiteY3" fmla="*/ 0 h 59840"/>
                <a:gd name="connsiteX4" fmla="*/ 47100 w 58682"/>
                <a:gd name="connsiteY4" fmla="*/ 0 h 59840"/>
                <a:gd name="connsiteX5" fmla="*/ 58682 w 58682"/>
                <a:gd name="connsiteY5" fmla="*/ 10848 h 59840"/>
                <a:gd name="connsiteX6" fmla="*/ 58682 w 58682"/>
                <a:gd name="connsiteY6" fmla="*/ 49108 h 59840"/>
                <a:gd name="connsiteX7" fmla="*/ 47216 w 58682"/>
                <a:gd name="connsiteY7" fmla="*/ 59840 h 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82" h="59840">
                  <a:moveTo>
                    <a:pt x="47216" y="59840"/>
                  </a:moveTo>
                  <a:lnTo>
                    <a:pt x="11582" y="59840"/>
                  </a:lnTo>
                  <a:cubicBezTo>
                    <a:pt x="3861" y="59840"/>
                    <a:pt x="0" y="56173"/>
                    <a:pt x="0" y="48992"/>
                  </a:cubicBezTo>
                  <a:lnTo>
                    <a:pt x="0" y="0"/>
                  </a:lnTo>
                  <a:lnTo>
                    <a:pt x="47100" y="0"/>
                  </a:lnTo>
                  <a:cubicBezTo>
                    <a:pt x="54821" y="0"/>
                    <a:pt x="58682" y="3861"/>
                    <a:pt x="58682" y="10848"/>
                  </a:cubicBezTo>
                  <a:lnTo>
                    <a:pt x="58682" y="49108"/>
                  </a:lnTo>
                  <a:cubicBezTo>
                    <a:pt x="58682" y="56173"/>
                    <a:pt x="54821" y="59840"/>
                    <a:pt x="47216" y="59840"/>
                  </a:cubicBezTo>
                  <a:close/>
                </a:path>
              </a:pathLst>
            </a:custGeom>
            <a:grpFill/>
            <a:ln w="3861" cap="flat">
              <a:noFill/>
              <a:prstDash val="solid"/>
              <a:miter/>
            </a:ln>
          </p:spPr>
          <p:txBody>
            <a:bodyPr rtlCol="0" anchor="ctr"/>
            <a:lstStyle/>
            <a:p>
              <a:endParaRPr lang="en-US"/>
            </a:p>
          </p:txBody>
        </p:sp>
      </p:grpSp>
    </p:spTree>
    <p:extLst>
      <p:ext uri="{BB962C8B-B14F-4D97-AF65-F5344CB8AC3E}">
        <p14:creationId xmlns:p14="http://schemas.microsoft.com/office/powerpoint/2010/main" val="1451749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14:presetBounceEnd="32000">
                                      <p:stCondLst>
                                        <p:cond delay="0"/>
                                      </p:stCondLst>
                                      <p:childTnLst>
                                        <p:set>
                                          <p:cBhvr>
                                            <p:cTn id="6" dur="1" fill="hold">
                                              <p:stCondLst>
                                                <p:cond delay="0"/>
                                              </p:stCondLst>
                                            </p:cTn>
                                            <p:tgtEl>
                                              <p:spTgt spid="218"/>
                                            </p:tgtEl>
                                            <p:attrNameLst>
                                              <p:attrName>style.visibility</p:attrName>
                                            </p:attrNameLst>
                                          </p:cBhvr>
                                          <p:to>
                                            <p:strVal val="visible"/>
                                          </p:to>
                                        </p:set>
                                        <p:anim calcmode="lin" valueType="num" p14:bounceEnd="32000">
                                          <p:cBhvr additive="base">
                                            <p:cTn id="7" dur="1000" fill="hold"/>
                                            <p:tgtEl>
                                              <p:spTgt spid="218"/>
                                            </p:tgtEl>
                                            <p:attrNameLst>
                                              <p:attrName>ppt_x</p:attrName>
                                            </p:attrNameLst>
                                          </p:cBhvr>
                                          <p:tavLst>
                                            <p:tav tm="0">
                                              <p:val>
                                                <p:strVal val="0-#ppt_w/2"/>
                                              </p:val>
                                            </p:tav>
                                            <p:tav tm="100000">
                                              <p:val>
                                                <p:strVal val="#ppt_x"/>
                                              </p:val>
                                            </p:tav>
                                          </p:tavLst>
                                        </p:anim>
                                        <p:anim calcmode="lin" valueType="num" p14:bounceEnd="32000">
                                          <p:cBhvr additive="base">
                                            <p:cTn id="8" dur="1000" fill="hold"/>
                                            <p:tgtEl>
                                              <p:spTgt spid="218"/>
                                            </p:tgtEl>
                                            <p:attrNameLst>
                                              <p:attrName>ppt_y</p:attrName>
                                            </p:attrNameLst>
                                          </p:cBhvr>
                                          <p:tavLst>
                                            <p:tav tm="0">
                                              <p:val>
                                                <p:strVal val="0-#ppt_h/2"/>
                                              </p:val>
                                            </p:tav>
                                            <p:tav tm="100000">
                                              <p:val>
                                                <p:strVal val="#ppt_y"/>
                                              </p:val>
                                            </p:tav>
                                          </p:tavLst>
                                        </p:anim>
                                      </p:childTnLst>
                                    </p:cTn>
                                  </p:par>
                                  <p:par>
                                    <p:cTn id="9" presetID="35" presetClass="path" presetSubtype="0" accel="90000" decel="10000" fill="hold" grpId="1" nodeType="withEffect">
                                      <p:stCondLst>
                                        <p:cond delay="1400"/>
                                      </p:stCondLst>
                                      <p:childTnLst>
                                        <p:animMotion origin="layout" path="M -6.25E-7 -2.59259E-6 L -0.40794 -2.59259E-6 " pathEditMode="relative" rAng="0" ptsTypes="AA">
                                          <p:cBhvr>
                                            <p:cTn id="10" dur="1900" fill="hold"/>
                                            <p:tgtEl>
                                              <p:spTgt spid="218"/>
                                            </p:tgtEl>
                                            <p:attrNameLst>
                                              <p:attrName>ppt_x</p:attrName>
                                              <p:attrName>ppt_y</p:attrName>
                                            </p:attrNameLst>
                                          </p:cBhvr>
                                          <p:rCtr x="-20404" y="0"/>
                                        </p:animMotion>
                                      </p:childTnLst>
                                    </p:cTn>
                                  </p:par>
                                  <p:par>
                                    <p:cTn id="11" presetID="2" presetClass="entr" presetSubtype="3" fill="hold" grpId="0" nodeType="withEffect" p14:presetBounceEnd="32000">
                                      <p:stCondLst>
                                        <p:cond delay="0"/>
                                      </p:stCondLst>
                                      <p:childTnLst>
                                        <p:set>
                                          <p:cBhvr>
                                            <p:cTn id="12" dur="1" fill="hold">
                                              <p:stCondLst>
                                                <p:cond delay="0"/>
                                              </p:stCondLst>
                                            </p:cTn>
                                            <p:tgtEl>
                                              <p:spTgt spid="219"/>
                                            </p:tgtEl>
                                            <p:attrNameLst>
                                              <p:attrName>style.visibility</p:attrName>
                                            </p:attrNameLst>
                                          </p:cBhvr>
                                          <p:to>
                                            <p:strVal val="visible"/>
                                          </p:to>
                                        </p:set>
                                        <p:anim calcmode="lin" valueType="num" p14:bounceEnd="32000">
                                          <p:cBhvr additive="base">
                                            <p:cTn id="13" dur="1000" fill="hold"/>
                                            <p:tgtEl>
                                              <p:spTgt spid="219"/>
                                            </p:tgtEl>
                                            <p:attrNameLst>
                                              <p:attrName>ppt_x</p:attrName>
                                            </p:attrNameLst>
                                          </p:cBhvr>
                                          <p:tavLst>
                                            <p:tav tm="0">
                                              <p:val>
                                                <p:strVal val="1+#ppt_w/2"/>
                                              </p:val>
                                            </p:tav>
                                            <p:tav tm="100000">
                                              <p:val>
                                                <p:strVal val="#ppt_x"/>
                                              </p:val>
                                            </p:tav>
                                          </p:tavLst>
                                        </p:anim>
                                        <p:anim calcmode="lin" valueType="num" p14:bounceEnd="32000">
                                          <p:cBhvr additive="base">
                                            <p:cTn id="14" dur="1000" fill="hold"/>
                                            <p:tgtEl>
                                              <p:spTgt spid="219"/>
                                            </p:tgtEl>
                                            <p:attrNameLst>
                                              <p:attrName>ppt_y</p:attrName>
                                            </p:attrNameLst>
                                          </p:cBhvr>
                                          <p:tavLst>
                                            <p:tav tm="0">
                                              <p:val>
                                                <p:strVal val="0-#ppt_h/2"/>
                                              </p:val>
                                            </p:tav>
                                            <p:tav tm="100000">
                                              <p:val>
                                                <p:strVal val="#ppt_y"/>
                                              </p:val>
                                            </p:tav>
                                          </p:tavLst>
                                        </p:anim>
                                      </p:childTnLst>
                                    </p:cTn>
                                  </p:par>
                                  <p:par>
                                    <p:cTn id="15" presetID="35" presetClass="path" presetSubtype="0" accel="90000" decel="10000" fill="hold" grpId="1" nodeType="withEffect">
                                      <p:stCondLst>
                                        <p:cond delay="1400"/>
                                      </p:stCondLst>
                                      <p:childTnLst>
                                        <p:animMotion origin="layout" path="M -0.00013 -2.59259E-6 L -0.40782 -2.59259E-6 " pathEditMode="relative" rAng="0" ptsTypes="AA">
                                          <p:cBhvr>
                                            <p:cTn id="16" dur="1900" fill="hold"/>
                                            <p:tgtEl>
                                              <p:spTgt spid="219"/>
                                            </p:tgtEl>
                                            <p:attrNameLst>
                                              <p:attrName>ppt_x</p:attrName>
                                              <p:attrName>ppt_y</p:attrName>
                                            </p:attrNameLst>
                                          </p:cBhvr>
                                          <p:rCtr x="-20391" y="0"/>
                                        </p:animMotion>
                                      </p:childTnLst>
                                    </p:cTn>
                                  </p:par>
                                  <p:par>
                                    <p:cTn id="17" presetID="2" presetClass="entr" presetSubtype="6" fill="hold" grpId="0" nodeType="withEffect" p14:presetBounceEnd="32000">
                                      <p:stCondLst>
                                        <p:cond delay="0"/>
                                      </p:stCondLst>
                                      <p:childTnLst>
                                        <p:set>
                                          <p:cBhvr>
                                            <p:cTn id="18" dur="1" fill="hold">
                                              <p:stCondLst>
                                                <p:cond delay="0"/>
                                              </p:stCondLst>
                                            </p:cTn>
                                            <p:tgtEl>
                                              <p:spTgt spid="220"/>
                                            </p:tgtEl>
                                            <p:attrNameLst>
                                              <p:attrName>style.visibility</p:attrName>
                                            </p:attrNameLst>
                                          </p:cBhvr>
                                          <p:to>
                                            <p:strVal val="visible"/>
                                          </p:to>
                                        </p:set>
                                        <p:anim calcmode="lin" valueType="num" p14:bounceEnd="32000">
                                          <p:cBhvr additive="base">
                                            <p:cTn id="19" dur="1000" fill="hold"/>
                                            <p:tgtEl>
                                              <p:spTgt spid="220"/>
                                            </p:tgtEl>
                                            <p:attrNameLst>
                                              <p:attrName>ppt_x</p:attrName>
                                            </p:attrNameLst>
                                          </p:cBhvr>
                                          <p:tavLst>
                                            <p:tav tm="0">
                                              <p:val>
                                                <p:strVal val="1+#ppt_w/2"/>
                                              </p:val>
                                            </p:tav>
                                            <p:tav tm="100000">
                                              <p:val>
                                                <p:strVal val="#ppt_x"/>
                                              </p:val>
                                            </p:tav>
                                          </p:tavLst>
                                        </p:anim>
                                        <p:anim calcmode="lin" valueType="num" p14:bounceEnd="32000">
                                          <p:cBhvr additive="base">
                                            <p:cTn id="20" dur="1000" fill="hold"/>
                                            <p:tgtEl>
                                              <p:spTgt spid="220"/>
                                            </p:tgtEl>
                                            <p:attrNameLst>
                                              <p:attrName>ppt_y</p:attrName>
                                            </p:attrNameLst>
                                          </p:cBhvr>
                                          <p:tavLst>
                                            <p:tav tm="0">
                                              <p:val>
                                                <p:strVal val="1+#ppt_h/2"/>
                                              </p:val>
                                            </p:tav>
                                            <p:tav tm="100000">
                                              <p:val>
                                                <p:strVal val="#ppt_y"/>
                                              </p:val>
                                            </p:tav>
                                          </p:tavLst>
                                        </p:anim>
                                      </p:childTnLst>
                                    </p:cTn>
                                  </p:par>
                                  <p:par>
                                    <p:cTn id="21" presetID="35" presetClass="path" presetSubtype="0" accel="90000" decel="10000" fill="hold" grpId="1" nodeType="withEffect">
                                      <p:stCondLst>
                                        <p:cond delay="1400"/>
                                      </p:stCondLst>
                                      <p:childTnLst>
                                        <p:animMotion origin="layout" path="M -0.00065 2.59259E-6 L -0.40782 2.59259E-6 " pathEditMode="relative" rAng="0" ptsTypes="AA">
                                          <p:cBhvr>
                                            <p:cTn id="22" dur="1900" fill="hold"/>
                                            <p:tgtEl>
                                              <p:spTgt spid="220"/>
                                            </p:tgtEl>
                                            <p:attrNameLst>
                                              <p:attrName>ppt_x</p:attrName>
                                              <p:attrName>ppt_y</p:attrName>
                                            </p:attrNameLst>
                                          </p:cBhvr>
                                          <p:rCtr x="-20365" y="0"/>
                                        </p:animMotion>
                                      </p:childTnLst>
                                    </p:cTn>
                                  </p:par>
                                  <p:par>
                                    <p:cTn id="23" presetID="1" presetClass="entr" presetSubtype="0" fill="hold" nodeType="withEffect">
                                      <p:stCondLst>
                                        <p:cond delay="350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xit" presetSubtype="0" fill="hold" grpId="2" nodeType="withEffect">
                                      <p:stCondLst>
                                        <p:cond delay="3500"/>
                                      </p:stCondLst>
                                      <p:childTnLst>
                                        <p:set>
                                          <p:cBhvr>
                                            <p:cTn id="26" dur="1" fill="hold">
                                              <p:stCondLst>
                                                <p:cond delay="0"/>
                                              </p:stCondLst>
                                            </p:cTn>
                                            <p:tgtEl>
                                              <p:spTgt spid="218"/>
                                            </p:tgtEl>
                                            <p:attrNameLst>
                                              <p:attrName>style.visibility</p:attrName>
                                            </p:attrNameLst>
                                          </p:cBhvr>
                                          <p:to>
                                            <p:strVal val="hidden"/>
                                          </p:to>
                                        </p:set>
                                      </p:childTnLst>
                                    </p:cTn>
                                  </p:par>
                                  <p:par>
                                    <p:cTn id="27" presetID="1" presetClass="exit" presetSubtype="0" fill="hold" grpId="2" nodeType="withEffect">
                                      <p:stCondLst>
                                        <p:cond delay="3500"/>
                                      </p:stCondLst>
                                      <p:childTnLst>
                                        <p:set>
                                          <p:cBhvr>
                                            <p:cTn id="28" dur="1" fill="hold">
                                              <p:stCondLst>
                                                <p:cond delay="0"/>
                                              </p:stCondLst>
                                            </p:cTn>
                                            <p:tgtEl>
                                              <p:spTgt spid="219"/>
                                            </p:tgtEl>
                                            <p:attrNameLst>
                                              <p:attrName>style.visibility</p:attrName>
                                            </p:attrNameLst>
                                          </p:cBhvr>
                                          <p:to>
                                            <p:strVal val="hidden"/>
                                          </p:to>
                                        </p:set>
                                      </p:childTnLst>
                                    </p:cTn>
                                  </p:par>
                                  <p:par>
                                    <p:cTn id="29" presetID="1" presetClass="exit" presetSubtype="0" fill="hold" grpId="2" nodeType="withEffect">
                                      <p:stCondLst>
                                        <p:cond delay="3500"/>
                                      </p:stCondLst>
                                      <p:childTnLst>
                                        <p:set>
                                          <p:cBhvr>
                                            <p:cTn id="30" dur="1" fill="hold">
                                              <p:stCondLst>
                                                <p:cond delay="0"/>
                                              </p:stCondLst>
                                            </p:cTn>
                                            <p:tgtEl>
                                              <p:spTgt spid="220"/>
                                            </p:tgtEl>
                                            <p:attrNameLst>
                                              <p:attrName>style.visibility</p:attrName>
                                            </p:attrNameLst>
                                          </p:cBhvr>
                                          <p:to>
                                            <p:strVal val="hidden"/>
                                          </p:to>
                                        </p:set>
                                      </p:childTnLst>
                                    </p:cTn>
                                  </p:par>
                                  <p:par>
                                    <p:cTn id="31" presetID="1" presetClass="entr" presetSubtype="0" fill="hold" grpId="0" nodeType="withEffect">
                                      <p:stCondLst>
                                        <p:cond delay="3500"/>
                                      </p:stCondLst>
                                      <p:childTnLst>
                                        <p:set>
                                          <p:cBhvr>
                                            <p:cTn id="32" dur="1" fill="hold">
                                              <p:stCondLst>
                                                <p:cond delay="0"/>
                                              </p:stCondLst>
                                            </p:cTn>
                                            <p:tgtEl>
                                              <p:spTgt spid="22"/>
                                            </p:tgtEl>
                                            <p:attrNameLst>
                                              <p:attrName>style.visibility</p:attrName>
                                            </p:attrNameLst>
                                          </p:cBhvr>
                                          <p:to>
                                            <p:strVal val="visible"/>
                                          </p:to>
                                        </p:set>
                                      </p:childTnLst>
                                    </p:cTn>
                                  </p:par>
                                  <p:par>
                                    <p:cTn id="33" presetID="10" presetClass="entr" presetSubtype="0" fill="hold" grpId="0" nodeType="withEffect">
                                      <p:stCondLst>
                                        <p:cond delay="2200"/>
                                      </p:stCondLst>
                                      <p:childTnLst>
                                        <p:set>
                                          <p:cBhvr>
                                            <p:cTn id="34" dur="1" fill="hold">
                                              <p:stCondLst>
                                                <p:cond delay="0"/>
                                              </p:stCondLst>
                                            </p:cTn>
                                            <p:tgtEl>
                                              <p:spTgt spid="216"/>
                                            </p:tgtEl>
                                            <p:attrNameLst>
                                              <p:attrName>style.visibility</p:attrName>
                                            </p:attrNameLst>
                                          </p:cBhvr>
                                          <p:to>
                                            <p:strVal val="visible"/>
                                          </p:to>
                                        </p:set>
                                        <p:animEffect transition="in" filter="fade">
                                          <p:cBhvr>
                                            <p:cTn id="35" dur="500"/>
                                            <p:tgtEl>
                                              <p:spTgt spid="216"/>
                                            </p:tgtEl>
                                          </p:cBhvr>
                                        </p:animEffect>
                                      </p:childTnLst>
                                    </p:cTn>
                                  </p:par>
                                  <p:par>
                                    <p:cTn id="36" presetID="10" presetClass="entr" presetSubtype="0" fill="hold" grpId="0" nodeType="withEffect">
                                      <p:stCondLst>
                                        <p:cond delay="2400"/>
                                      </p:stCondLst>
                                      <p:childTnLst>
                                        <p:set>
                                          <p:cBhvr>
                                            <p:cTn id="37" dur="1" fill="hold">
                                              <p:stCondLst>
                                                <p:cond delay="0"/>
                                              </p:stCondLst>
                                            </p:cTn>
                                            <p:tgtEl>
                                              <p:spTgt spid="215"/>
                                            </p:tgtEl>
                                            <p:attrNameLst>
                                              <p:attrName>style.visibility</p:attrName>
                                            </p:attrNameLst>
                                          </p:cBhvr>
                                          <p:to>
                                            <p:strVal val="visible"/>
                                          </p:to>
                                        </p:set>
                                        <p:animEffect transition="in" filter="fade">
                                          <p:cBhvr>
                                            <p:cTn id="38" dur="500"/>
                                            <p:tgtEl>
                                              <p:spTgt spid="215"/>
                                            </p:tgtEl>
                                          </p:cBhvr>
                                        </p:animEffect>
                                      </p:childTnLst>
                                    </p:cTn>
                                  </p:par>
                                  <p:par>
                                    <p:cTn id="39" presetID="10" presetClass="entr" presetSubtype="0" fill="hold" grpId="0" nodeType="withEffect">
                                      <p:stCondLst>
                                        <p:cond delay="2600"/>
                                      </p:stCondLst>
                                      <p:childTnLst>
                                        <p:set>
                                          <p:cBhvr>
                                            <p:cTn id="40" dur="1" fill="hold">
                                              <p:stCondLst>
                                                <p:cond delay="0"/>
                                              </p:stCondLst>
                                            </p:cTn>
                                            <p:tgtEl>
                                              <p:spTgt spid="212"/>
                                            </p:tgtEl>
                                            <p:attrNameLst>
                                              <p:attrName>style.visibility</p:attrName>
                                            </p:attrNameLst>
                                          </p:cBhvr>
                                          <p:to>
                                            <p:strVal val="visible"/>
                                          </p:to>
                                        </p:set>
                                        <p:animEffect transition="in" filter="fade">
                                          <p:cBhvr>
                                            <p:cTn id="41" dur="500"/>
                                            <p:tgtEl>
                                              <p:spTgt spid="212"/>
                                            </p:tgtEl>
                                          </p:cBhvr>
                                        </p:animEffect>
                                      </p:childTnLst>
                                    </p:cTn>
                                  </p:par>
                                  <p:par>
                                    <p:cTn id="42" presetID="10" presetClass="entr" presetSubtype="0" fill="hold" grpId="0" nodeType="withEffect">
                                      <p:stCondLst>
                                        <p:cond delay="2800"/>
                                      </p:stCondLst>
                                      <p:childTnLst>
                                        <p:set>
                                          <p:cBhvr>
                                            <p:cTn id="43" dur="1" fill="hold">
                                              <p:stCondLst>
                                                <p:cond delay="0"/>
                                              </p:stCondLst>
                                            </p:cTn>
                                            <p:tgtEl>
                                              <p:spTgt spid="211"/>
                                            </p:tgtEl>
                                            <p:attrNameLst>
                                              <p:attrName>style.visibility</p:attrName>
                                            </p:attrNameLst>
                                          </p:cBhvr>
                                          <p:to>
                                            <p:strVal val="visible"/>
                                          </p:to>
                                        </p:set>
                                        <p:animEffect transition="in" filter="fade">
                                          <p:cBhvr>
                                            <p:cTn id="44" dur="500"/>
                                            <p:tgtEl>
                                              <p:spTgt spid="211"/>
                                            </p:tgtEl>
                                          </p:cBhvr>
                                        </p:animEffect>
                                      </p:childTnLst>
                                    </p:cTn>
                                  </p:par>
                                  <p:par>
                                    <p:cTn id="45" presetID="10" presetClass="entr" presetSubtype="0" fill="hold" grpId="0" nodeType="withEffect">
                                      <p:stCondLst>
                                        <p:cond delay="3000"/>
                                      </p:stCondLst>
                                      <p:childTnLst>
                                        <p:set>
                                          <p:cBhvr>
                                            <p:cTn id="46" dur="1" fill="hold">
                                              <p:stCondLst>
                                                <p:cond delay="0"/>
                                              </p:stCondLst>
                                            </p:cTn>
                                            <p:tgtEl>
                                              <p:spTgt spid="213"/>
                                            </p:tgtEl>
                                            <p:attrNameLst>
                                              <p:attrName>style.visibility</p:attrName>
                                            </p:attrNameLst>
                                          </p:cBhvr>
                                          <p:to>
                                            <p:strVal val="visible"/>
                                          </p:to>
                                        </p:set>
                                        <p:animEffect transition="in" filter="fade">
                                          <p:cBhvr>
                                            <p:cTn id="47" dur="500"/>
                                            <p:tgtEl>
                                              <p:spTgt spid="213"/>
                                            </p:tgtEl>
                                          </p:cBhvr>
                                        </p:animEffect>
                                      </p:childTnLst>
                                    </p:cTn>
                                  </p:par>
                                  <p:par>
                                    <p:cTn id="48" presetID="10" presetClass="entr" presetSubtype="0" fill="hold" grpId="0" nodeType="withEffect">
                                      <p:stCondLst>
                                        <p:cond delay="3200"/>
                                      </p:stCondLst>
                                      <p:childTnLst>
                                        <p:set>
                                          <p:cBhvr>
                                            <p:cTn id="49" dur="1" fill="hold">
                                              <p:stCondLst>
                                                <p:cond delay="0"/>
                                              </p:stCondLst>
                                            </p:cTn>
                                            <p:tgtEl>
                                              <p:spTgt spid="214"/>
                                            </p:tgtEl>
                                            <p:attrNameLst>
                                              <p:attrName>style.visibility</p:attrName>
                                            </p:attrNameLst>
                                          </p:cBhvr>
                                          <p:to>
                                            <p:strVal val="visible"/>
                                          </p:to>
                                        </p:set>
                                        <p:animEffect transition="in" filter="fade">
                                          <p:cBhvr>
                                            <p:cTn id="50" dur="500"/>
                                            <p:tgtEl>
                                              <p:spTgt spid="214"/>
                                            </p:tgtEl>
                                          </p:cBhvr>
                                        </p:animEffect>
                                      </p:childTnLst>
                                    </p:cTn>
                                  </p:par>
                                  <p:par>
                                    <p:cTn id="51" presetID="2" presetClass="entr" presetSubtype="2" fill="hold" nodeType="withEffect">
                                      <p:stCondLst>
                                        <p:cond delay="2000"/>
                                      </p:stCondLst>
                                      <p:childTnLst>
                                        <p:set>
                                          <p:cBhvr>
                                            <p:cTn id="52" dur="1" fill="hold">
                                              <p:stCondLst>
                                                <p:cond delay="0"/>
                                              </p:stCondLst>
                                            </p:cTn>
                                            <p:tgtEl>
                                              <p:spTgt spid="196"/>
                                            </p:tgtEl>
                                            <p:attrNameLst>
                                              <p:attrName>style.visibility</p:attrName>
                                            </p:attrNameLst>
                                          </p:cBhvr>
                                          <p:to>
                                            <p:strVal val="visible"/>
                                          </p:to>
                                        </p:set>
                                        <p:anim calcmode="lin" valueType="num">
                                          <p:cBhvr additive="base">
                                            <p:cTn id="53" dur="1200" fill="hold"/>
                                            <p:tgtEl>
                                              <p:spTgt spid="196"/>
                                            </p:tgtEl>
                                            <p:attrNameLst>
                                              <p:attrName>ppt_x</p:attrName>
                                            </p:attrNameLst>
                                          </p:cBhvr>
                                          <p:tavLst>
                                            <p:tav tm="0">
                                              <p:val>
                                                <p:strVal val="1+#ppt_w/2"/>
                                              </p:val>
                                            </p:tav>
                                            <p:tav tm="100000">
                                              <p:val>
                                                <p:strVal val="#ppt_x"/>
                                              </p:val>
                                            </p:tav>
                                          </p:tavLst>
                                        </p:anim>
                                        <p:anim calcmode="lin" valueType="num">
                                          <p:cBhvr additive="base">
                                            <p:cTn id="54" dur="1200" fill="hold"/>
                                            <p:tgtEl>
                                              <p:spTgt spid="1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 grpId="0" animBg="1"/>
          <p:bldP spid="220" grpId="1" animBg="1"/>
          <p:bldP spid="220" grpId="2" animBg="1"/>
          <p:bldP spid="219" grpId="0" animBg="1"/>
          <p:bldP spid="219" grpId="1" animBg="1"/>
          <p:bldP spid="219" grpId="2" animBg="1"/>
          <p:bldP spid="218" grpId="0" animBg="1"/>
          <p:bldP spid="218" grpId="1" animBg="1"/>
          <p:bldP spid="218" grpId="2" animBg="1"/>
          <p:bldP spid="22" grpId="0" animBg="1"/>
          <p:bldP spid="216" grpId="0" animBg="1"/>
          <p:bldP spid="215" grpId="0" animBg="1"/>
          <p:bldP spid="212" grpId="0" animBg="1"/>
          <p:bldP spid="211" grpId="0" animBg="1"/>
          <p:bldP spid="213" grpId="0" animBg="1"/>
          <p:bldP spid="214"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218"/>
                                            </p:tgtEl>
                                            <p:attrNameLst>
                                              <p:attrName>style.visibility</p:attrName>
                                            </p:attrNameLst>
                                          </p:cBhvr>
                                          <p:to>
                                            <p:strVal val="visible"/>
                                          </p:to>
                                        </p:set>
                                        <p:anim calcmode="lin" valueType="num">
                                          <p:cBhvr additive="base">
                                            <p:cTn id="7" dur="1000" fill="hold"/>
                                            <p:tgtEl>
                                              <p:spTgt spid="218"/>
                                            </p:tgtEl>
                                            <p:attrNameLst>
                                              <p:attrName>ppt_x</p:attrName>
                                            </p:attrNameLst>
                                          </p:cBhvr>
                                          <p:tavLst>
                                            <p:tav tm="0">
                                              <p:val>
                                                <p:strVal val="0-#ppt_w/2"/>
                                              </p:val>
                                            </p:tav>
                                            <p:tav tm="100000">
                                              <p:val>
                                                <p:strVal val="#ppt_x"/>
                                              </p:val>
                                            </p:tav>
                                          </p:tavLst>
                                        </p:anim>
                                        <p:anim calcmode="lin" valueType="num">
                                          <p:cBhvr additive="base">
                                            <p:cTn id="8" dur="1000" fill="hold"/>
                                            <p:tgtEl>
                                              <p:spTgt spid="218"/>
                                            </p:tgtEl>
                                            <p:attrNameLst>
                                              <p:attrName>ppt_y</p:attrName>
                                            </p:attrNameLst>
                                          </p:cBhvr>
                                          <p:tavLst>
                                            <p:tav tm="0">
                                              <p:val>
                                                <p:strVal val="0-#ppt_h/2"/>
                                              </p:val>
                                            </p:tav>
                                            <p:tav tm="100000">
                                              <p:val>
                                                <p:strVal val="#ppt_y"/>
                                              </p:val>
                                            </p:tav>
                                          </p:tavLst>
                                        </p:anim>
                                      </p:childTnLst>
                                    </p:cTn>
                                  </p:par>
                                  <p:par>
                                    <p:cTn id="9" presetID="35" presetClass="path" presetSubtype="0" accel="90000" decel="10000" fill="hold" grpId="1" nodeType="withEffect">
                                      <p:stCondLst>
                                        <p:cond delay="1400"/>
                                      </p:stCondLst>
                                      <p:childTnLst>
                                        <p:animMotion origin="layout" path="M -6.25E-7 -2.59259E-6 L -0.40794 -2.59259E-6 " pathEditMode="relative" rAng="0" ptsTypes="AA">
                                          <p:cBhvr>
                                            <p:cTn id="10" dur="1900" fill="hold"/>
                                            <p:tgtEl>
                                              <p:spTgt spid="218"/>
                                            </p:tgtEl>
                                            <p:attrNameLst>
                                              <p:attrName>ppt_x</p:attrName>
                                              <p:attrName>ppt_y</p:attrName>
                                            </p:attrNameLst>
                                          </p:cBhvr>
                                          <p:rCtr x="-20404" y="0"/>
                                        </p:animMotion>
                                      </p:childTnLst>
                                    </p:cTn>
                                  </p:par>
                                  <p:par>
                                    <p:cTn id="11" presetID="2" presetClass="entr" presetSubtype="3" fill="hold" grpId="0" nodeType="withEffect">
                                      <p:stCondLst>
                                        <p:cond delay="0"/>
                                      </p:stCondLst>
                                      <p:childTnLst>
                                        <p:set>
                                          <p:cBhvr>
                                            <p:cTn id="12" dur="1" fill="hold">
                                              <p:stCondLst>
                                                <p:cond delay="0"/>
                                              </p:stCondLst>
                                            </p:cTn>
                                            <p:tgtEl>
                                              <p:spTgt spid="219"/>
                                            </p:tgtEl>
                                            <p:attrNameLst>
                                              <p:attrName>style.visibility</p:attrName>
                                            </p:attrNameLst>
                                          </p:cBhvr>
                                          <p:to>
                                            <p:strVal val="visible"/>
                                          </p:to>
                                        </p:set>
                                        <p:anim calcmode="lin" valueType="num">
                                          <p:cBhvr additive="base">
                                            <p:cTn id="13" dur="1000" fill="hold"/>
                                            <p:tgtEl>
                                              <p:spTgt spid="219"/>
                                            </p:tgtEl>
                                            <p:attrNameLst>
                                              <p:attrName>ppt_x</p:attrName>
                                            </p:attrNameLst>
                                          </p:cBhvr>
                                          <p:tavLst>
                                            <p:tav tm="0">
                                              <p:val>
                                                <p:strVal val="1+#ppt_w/2"/>
                                              </p:val>
                                            </p:tav>
                                            <p:tav tm="100000">
                                              <p:val>
                                                <p:strVal val="#ppt_x"/>
                                              </p:val>
                                            </p:tav>
                                          </p:tavLst>
                                        </p:anim>
                                        <p:anim calcmode="lin" valueType="num">
                                          <p:cBhvr additive="base">
                                            <p:cTn id="14" dur="1000" fill="hold"/>
                                            <p:tgtEl>
                                              <p:spTgt spid="219"/>
                                            </p:tgtEl>
                                            <p:attrNameLst>
                                              <p:attrName>ppt_y</p:attrName>
                                            </p:attrNameLst>
                                          </p:cBhvr>
                                          <p:tavLst>
                                            <p:tav tm="0">
                                              <p:val>
                                                <p:strVal val="0-#ppt_h/2"/>
                                              </p:val>
                                            </p:tav>
                                            <p:tav tm="100000">
                                              <p:val>
                                                <p:strVal val="#ppt_y"/>
                                              </p:val>
                                            </p:tav>
                                          </p:tavLst>
                                        </p:anim>
                                      </p:childTnLst>
                                    </p:cTn>
                                  </p:par>
                                  <p:par>
                                    <p:cTn id="15" presetID="35" presetClass="path" presetSubtype="0" accel="90000" decel="10000" fill="hold" grpId="1" nodeType="withEffect">
                                      <p:stCondLst>
                                        <p:cond delay="1400"/>
                                      </p:stCondLst>
                                      <p:childTnLst>
                                        <p:animMotion origin="layout" path="M -0.00013 -2.59259E-6 L -0.40782 -2.59259E-6 " pathEditMode="relative" rAng="0" ptsTypes="AA">
                                          <p:cBhvr>
                                            <p:cTn id="16" dur="1900" fill="hold"/>
                                            <p:tgtEl>
                                              <p:spTgt spid="219"/>
                                            </p:tgtEl>
                                            <p:attrNameLst>
                                              <p:attrName>ppt_x</p:attrName>
                                              <p:attrName>ppt_y</p:attrName>
                                            </p:attrNameLst>
                                          </p:cBhvr>
                                          <p:rCtr x="-20391" y="0"/>
                                        </p:animMotion>
                                      </p:childTnLst>
                                    </p:cTn>
                                  </p:par>
                                  <p:par>
                                    <p:cTn id="17" presetID="2" presetClass="entr" presetSubtype="6" fill="hold" grpId="0" nodeType="withEffect">
                                      <p:stCondLst>
                                        <p:cond delay="0"/>
                                      </p:stCondLst>
                                      <p:childTnLst>
                                        <p:set>
                                          <p:cBhvr>
                                            <p:cTn id="18" dur="1" fill="hold">
                                              <p:stCondLst>
                                                <p:cond delay="0"/>
                                              </p:stCondLst>
                                            </p:cTn>
                                            <p:tgtEl>
                                              <p:spTgt spid="220"/>
                                            </p:tgtEl>
                                            <p:attrNameLst>
                                              <p:attrName>style.visibility</p:attrName>
                                            </p:attrNameLst>
                                          </p:cBhvr>
                                          <p:to>
                                            <p:strVal val="visible"/>
                                          </p:to>
                                        </p:set>
                                        <p:anim calcmode="lin" valueType="num">
                                          <p:cBhvr additive="base">
                                            <p:cTn id="19" dur="1000" fill="hold"/>
                                            <p:tgtEl>
                                              <p:spTgt spid="220"/>
                                            </p:tgtEl>
                                            <p:attrNameLst>
                                              <p:attrName>ppt_x</p:attrName>
                                            </p:attrNameLst>
                                          </p:cBhvr>
                                          <p:tavLst>
                                            <p:tav tm="0">
                                              <p:val>
                                                <p:strVal val="1+#ppt_w/2"/>
                                              </p:val>
                                            </p:tav>
                                            <p:tav tm="100000">
                                              <p:val>
                                                <p:strVal val="#ppt_x"/>
                                              </p:val>
                                            </p:tav>
                                          </p:tavLst>
                                        </p:anim>
                                        <p:anim calcmode="lin" valueType="num">
                                          <p:cBhvr additive="base">
                                            <p:cTn id="20" dur="1000" fill="hold"/>
                                            <p:tgtEl>
                                              <p:spTgt spid="220"/>
                                            </p:tgtEl>
                                            <p:attrNameLst>
                                              <p:attrName>ppt_y</p:attrName>
                                            </p:attrNameLst>
                                          </p:cBhvr>
                                          <p:tavLst>
                                            <p:tav tm="0">
                                              <p:val>
                                                <p:strVal val="1+#ppt_h/2"/>
                                              </p:val>
                                            </p:tav>
                                            <p:tav tm="100000">
                                              <p:val>
                                                <p:strVal val="#ppt_y"/>
                                              </p:val>
                                            </p:tav>
                                          </p:tavLst>
                                        </p:anim>
                                      </p:childTnLst>
                                    </p:cTn>
                                  </p:par>
                                  <p:par>
                                    <p:cTn id="21" presetID="35" presetClass="path" presetSubtype="0" accel="90000" decel="10000" fill="hold" grpId="1" nodeType="withEffect">
                                      <p:stCondLst>
                                        <p:cond delay="1400"/>
                                      </p:stCondLst>
                                      <p:childTnLst>
                                        <p:animMotion origin="layout" path="M -0.00065 2.59259E-6 L -0.40782 2.59259E-6 " pathEditMode="relative" rAng="0" ptsTypes="AA">
                                          <p:cBhvr>
                                            <p:cTn id="22" dur="1900" fill="hold"/>
                                            <p:tgtEl>
                                              <p:spTgt spid="220"/>
                                            </p:tgtEl>
                                            <p:attrNameLst>
                                              <p:attrName>ppt_x</p:attrName>
                                              <p:attrName>ppt_y</p:attrName>
                                            </p:attrNameLst>
                                          </p:cBhvr>
                                          <p:rCtr x="-20365" y="0"/>
                                        </p:animMotion>
                                      </p:childTnLst>
                                    </p:cTn>
                                  </p:par>
                                  <p:par>
                                    <p:cTn id="23" presetID="1" presetClass="entr" presetSubtype="0" fill="hold" nodeType="withEffect">
                                      <p:stCondLst>
                                        <p:cond delay="350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xit" presetSubtype="0" fill="hold" grpId="2" nodeType="withEffect">
                                      <p:stCondLst>
                                        <p:cond delay="3500"/>
                                      </p:stCondLst>
                                      <p:childTnLst>
                                        <p:set>
                                          <p:cBhvr>
                                            <p:cTn id="26" dur="1" fill="hold">
                                              <p:stCondLst>
                                                <p:cond delay="0"/>
                                              </p:stCondLst>
                                            </p:cTn>
                                            <p:tgtEl>
                                              <p:spTgt spid="218"/>
                                            </p:tgtEl>
                                            <p:attrNameLst>
                                              <p:attrName>style.visibility</p:attrName>
                                            </p:attrNameLst>
                                          </p:cBhvr>
                                          <p:to>
                                            <p:strVal val="hidden"/>
                                          </p:to>
                                        </p:set>
                                      </p:childTnLst>
                                    </p:cTn>
                                  </p:par>
                                  <p:par>
                                    <p:cTn id="27" presetID="1" presetClass="exit" presetSubtype="0" fill="hold" grpId="2" nodeType="withEffect">
                                      <p:stCondLst>
                                        <p:cond delay="3500"/>
                                      </p:stCondLst>
                                      <p:childTnLst>
                                        <p:set>
                                          <p:cBhvr>
                                            <p:cTn id="28" dur="1" fill="hold">
                                              <p:stCondLst>
                                                <p:cond delay="0"/>
                                              </p:stCondLst>
                                            </p:cTn>
                                            <p:tgtEl>
                                              <p:spTgt spid="219"/>
                                            </p:tgtEl>
                                            <p:attrNameLst>
                                              <p:attrName>style.visibility</p:attrName>
                                            </p:attrNameLst>
                                          </p:cBhvr>
                                          <p:to>
                                            <p:strVal val="hidden"/>
                                          </p:to>
                                        </p:set>
                                      </p:childTnLst>
                                    </p:cTn>
                                  </p:par>
                                  <p:par>
                                    <p:cTn id="29" presetID="1" presetClass="exit" presetSubtype="0" fill="hold" grpId="2" nodeType="withEffect">
                                      <p:stCondLst>
                                        <p:cond delay="3500"/>
                                      </p:stCondLst>
                                      <p:childTnLst>
                                        <p:set>
                                          <p:cBhvr>
                                            <p:cTn id="30" dur="1" fill="hold">
                                              <p:stCondLst>
                                                <p:cond delay="0"/>
                                              </p:stCondLst>
                                            </p:cTn>
                                            <p:tgtEl>
                                              <p:spTgt spid="220"/>
                                            </p:tgtEl>
                                            <p:attrNameLst>
                                              <p:attrName>style.visibility</p:attrName>
                                            </p:attrNameLst>
                                          </p:cBhvr>
                                          <p:to>
                                            <p:strVal val="hidden"/>
                                          </p:to>
                                        </p:set>
                                      </p:childTnLst>
                                    </p:cTn>
                                  </p:par>
                                  <p:par>
                                    <p:cTn id="31" presetID="1" presetClass="entr" presetSubtype="0" fill="hold" grpId="0" nodeType="withEffect">
                                      <p:stCondLst>
                                        <p:cond delay="3500"/>
                                      </p:stCondLst>
                                      <p:childTnLst>
                                        <p:set>
                                          <p:cBhvr>
                                            <p:cTn id="32" dur="1" fill="hold">
                                              <p:stCondLst>
                                                <p:cond delay="0"/>
                                              </p:stCondLst>
                                            </p:cTn>
                                            <p:tgtEl>
                                              <p:spTgt spid="22"/>
                                            </p:tgtEl>
                                            <p:attrNameLst>
                                              <p:attrName>style.visibility</p:attrName>
                                            </p:attrNameLst>
                                          </p:cBhvr>
                                          <p:to>
                                            <p:strVal val="visible"/>
                                          </p:to>
                                        </p:set>
                                      </p:childTnLst>
                                    </p:cTn>
                                  </p:par>
                                  <p:par>
                                    <p:cTn id="33" presetID="10" presetClass="entr" presetSubtype="0" fill="hold" grpId="0" nodeType="withEffect">
                                      <p:stCondLst>
                                        <p:cond delay="2200"/>
                                      </p:stCondLst>
                                      <p:childTnLst>
                                        <p:set>
                                          <p:cBhvr>
                                            <p:cTn id="34" dur="1" fill="hold">
                                              <p:stCondLst>
                                                <p:cond delay="0"/>
                                              </p:stCondLst>
                                            </p:cTn>
                                            <p:tgtEl>
                                              <p:spTgt spid="216"/>
                                            </p:tgtEl>
                                            <p:attrNameLst>
                                              <p:attrName>style.visibility</p:attrName>
                                            </p:attrNameLst>
                                          </p:cBhvr>
                                          <p:to>
                                            <p:strVal val="visible"/>
                                          </p:to>
                                        </p:set>
                                        <p:animEffect transition="in" filter="fade">
                                          <p:cBhvr>
                                            <p:cTn id="35" dur="500"/>
                                            <p:tgtEl>
                                              <p:spTgt spid="216"/>
                                            </p:tgtEl>
                                          </p:cBhvr>
                                        </p:animEffect>
                                      </p:childTnLst>
                                    </p:cTn>
                                  </p:par>
                                  <p:par>
                                    <p:cTn id="36" presetID="10" presetClass="entr" presetSubtype="0" fill="hold" grpId="0" nodeType="withEffect">
                                      <p:stCondLst>
                                        <p:cond delay="2400"/>
                                      </p:stCondLst>
                                      <p:childTnLst>
                                        <p:set>
                                          <p:cBhvr>
                                            <p:cTn id="37" dur="1" fill="hold">
                                              <p:stCondLst>
                                                <p:cond delay="0"/>
                                              </p:stCondLst>
                                            </p:cTn>
                                            <p:tgtEl>
                                              <p:spTgt spid="215"/>
                                            </p:tgtEl>
                                            <p:attrNameLst>
                                              <p:attrName>style.visibility</p:attrName>
                                            </p:attrNameLst>
                                          </p:cBhvr>
                                          <p:to>
                                            <p:strVal val="visible"/>
                                          </p:to>
                                        </p:set>
                                        <p:animEffect transition="in" filter="fade">
                                          <p:cBhvr>
                                            <p:cTn id="38" dur="500"/>
                                            <p:tgtEl>
                                              <p:spTgt spid="215"/>
                                            </p:tgtEl>
                                          </p:cBhvr>
                                        </p:animEffect>
                                      </p:childTnLst>
                                    </p:cTn>
                                  </p:par>
                                  <p:par>
                                    <p:cTn id="39" presetID="10" presetClass="entr" presetSubtype="0" fill="hold" grpId="0" nodeType="withEffect">
                                      <p:stCondLst>
                                        <p:cond delay="2600"/>
                                      </p:stCondLst>
                                      <p:childTnLst>
                                        <p:set>
                                          <p:cBhvr>
                                            <p:cTn id="40" dur="1" fill="hold">
                                              <p:stCondLst>
                                                <p:cond delay="0"/>
                                              </p:stCondLst>
                                            </p:cTn>
                                            <p:tgtEl>
                                              <p:spTgt spid="212"/>
                                            </p:tgtEl>
                                            <p:attrNameLst>
                                              <p:attrName>style.visibility</p:attrName>
                                            </p:attrNameLst>
                                          </p:cBhvr>
                                          <p:to>
                                            <p:strVal val="visible"/>
                                          </p:to>
                                        </p:set>
                                        <p:animEffect transition="in" filter="fade">
                                          <p:cBhvr>
                                            <p:cTn id="41" dur="500"/>
                                            <p:tgtEl>
                                              <p:spTgt spid="212"/>
                                            </p:tgtEl>
                                          </p:cBhvr>
                                        </p:animEffect>
                                      </p:childTnLst>
                                    </p:cTn>
                                  </p:par>
                                  <p:par>
                                    <p:cTn id="42" presetID="10" presetClass="entr" presetSubtype="0" fill="hold" grpId="0" nodeType="withEffect">
                                      <p:stCondLst>
                                        <p:cond delay="2800"/>
                                      </p:stCondLst>
                                      <p:childTnLst>
                                        <p:set>
                                          <p:cBhvr>
                                            <p:cTn id="43" dur="1" fill="hold">
                                              <p:stCondLst>
                                                <p:cond delay="0"/>
                                              </p:stCondLst>
                                            </p:cTn>
                                            <p:tgtEl>
                                              <p:spTgt spid="211"/>
                                            </p:tgtEl>
                                            <p:attrNameLst>
                                              <p:attrName>style.visibility</p:attrName>
                                            </p:attrNameLst>
                                          </p:cBhvr>
                                          <p:to>
                                            <p:strVal val="visible"/>
                                          </p:to>
                                        </p:set>
                                        <p:animEffect transition="in" filter="fade">
                                          <p:cBhvr>
                                            <p:cTn id="44" dur="500"/>
                                            <p:tgtEl>
                                              <p:spTgt spid="211"/>
                                            </p:tgtEl>
                                          </p:cBhvr>
                                        </p:animEffect>
                                      </p:childTnLst>
                                    </p:cTn>
                                  </p:par>
                                  <p:par>
                                    <p:cTn id="45" presetID="10" presetClass="entr" presetSubtype="0" fill="hold" grpId="0" nodeType="withEffect">
                                      <p:stCondLst>
                                        <p:cond delay="3000"/>
                                      </p:stCondLst>
                                      <p:childTnLst>
                                        <p:set>
                                          <p:cBhvr>
                                            <p:cTn id="46" dur="1" fill="hold">
                                              <p:stCondLst>
                                                <p:cond delay="0"/>
                                              </p:stCondLst>
                                            </p:cTn>
                                            <p:tgtEl>
                                              <p:spTgt spid="213"/>
                                            </p:tgtEl>
                                            <p:attrNameLst>
                                              <p:attrName>style.visibility</p:attrName>
                                            </p:attrNameLst>
                                          </p:cBhvr>
                                          <p:to>
                                            <p:strVal val="visible"/>
                                          </p:to>
                                        </p:set>
                                        <p:animEffect transition="in" filter="fade">
                                          <p:cBhvr>
                                            <p:cTn id="47" dur="500"/>
                                            <p:tgtEl>
                                              <p:spTgt spid="213"/>
                                            </p:tgtEl>
                                          </p:cBhvr>
                                        </p:animEffect>
                                      </p:childTnLst>
                                    </p:cTn>
                                  </p:par>
                                  <p:par>
                                    <p:cTn id="48" presetID="10" presetClass="entr" presetSubtype="0" fill="hold" grpId="0" nodeType="withEffect">
                                      <p:stCondLst>
                                        <p:cond delay="3200"/>
                                      </p:stCondLst>
                                      <p:childTnLst>
                                        <p:set>
                                          <p:cBhvr>
                                            <p:cTn id="49" dur="1" fill="hold">
                                              <p:stCondLst>
                                                <p:cond delay="0"/>
                                              </p:stCondLst>
                                            </p:cTn>
                                            <p:tgtEl>
                                              <p:spTgt spid="214"/>
                                            </p:tgtEl>
                                            <p:attrNameLst>
                                              <p:attrName>style.visibility</p:attrName>
                                            </p:attrNameLst>
                                          </p:cBhvr>
                                          <p:to>
                                            <p:strVal val="visible"/>
                                          </p:to>
                                        </p:set>
                                        <p:animEffect transition="in" filter="fade">
                                          <p:cBhvr>
                                            <p:cTn id="50" dur="500"/>
                                            <p:tgtEl>
                                              <p:spTgt spid="214"/>
                                            </p:tgtEl>
                                          </p:cBhvr>
                                        </p:animEffect>
                                      </p:childTnLst>
                                    </p:cTn>
                                  </p:par>
                                  <p:par>
                                    <p:cTn id="51" presetID="2" presetClass="entr" presetSubtype="2" fill="hold" nodeType="withEffect">
                                      <p:stCondLst>
                                        <p:cond delay="2000"/>
                                      </p:stCondLst>
                                      <p:childTnLst>
                                        <p:set>
                                          <p:cBhvr>
                                            <p:cTn id="52" dur="1" fill="hold">
                                              <p:stCondLst>
                                                <p:cond delay="0"/>
                                              </p:stCondLst>
                                            </p:cTn>
                                            <p:tgtEl>
                                              <p:spTgt spid="196"/>
                                            </p:tgtEl>
                                            <p:attrNameLst>
                                              <p:attrName>style.visibility</p:attrName>
                                            </p:attrNameLst>
                                          </p:cBhvr>
                                          <p:to>
                                            <p:strVal val="visible"/>
                                          </p:to>
                                        </p:set>
                                        <p:anim calcmode="lin" valueType="num">
                                          <p:cBhvr additive="base">
                                            <p:cTn id="53" dur="1200" fill="hold"/>
                                            <p:tgtEl>
                                              <p:spTgt spid="196"/>
                                            </p:tgtEl>
                                            <p:attrNameLst>
                                              <p:attrName>ppt_x</p:attrName>
                                            </p:attrNameLst>
                                          </p:cBhvr>
                                          <p:tavLst>
                                            <p:tav tm="0">
                                              <p:val>
                                                <p:strVal val="1+#ppt_w/2"/>
                                              </p:val>
                                            </p:tav>
                                            <p:tav tm="100000">
                                              <p:val>
                                                <p:strVal val="#ppt_x"/>
                                              </p:val>
                                            </p:tav>
                                          </p:tavLst>
                                        </p:anim>
                                        <p:anim calcmode="lin" valueType="num">
                                          <p:cBhvr additive="base">
                                            <p:cTn id="54" dur="1200" fill="hold"/>
                                            <p:tgtEl>
                                              <p:spTgt spid="1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 grpId="0" animBg="1"/>
          <p:bldP spid="220" grpId="1" animBg="1"/>
          <p:bldP spid="220" grpId="2" animBg="1"/>
          <p:bldP spid="219" grpId="0" animBg="1"/>
          <p:bldP spid="219" grpId="1" animBg="1"/>
          <p:bldP spid="219" grpId="2" animBg="1"/>
          <p:bldP spid="218" grpId="0" animBg="1"/>
          <p:bldP spid="218" grpId="1" animBg="1"/>
          <p:bldP spid="218" grpId="2" animBg="1"/>
          <p:bldP spid="22" grpId="0" animBg="1"/>
          <p:bldP spid="216" grpId="0" animBg="1"/>
          <p:bldP spid="215" grpId="0" animBg="1"/>
          <p:bldP spid="212" grpId="0" animBg="1"/>
          <p:bldP spid="211" grpId="0" animBg="1"/>
          <p:bldP spid="213" grpId="0" animBg="1"/>
          <p:bldP spid="214" grpId="0" animBg="1"/>
        </p:bldLst>
      </p:timing>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 #1">
    <p:spTree>
      <p:nvGrpSpPr>
        <p:cNvPr id="1" name=""/>
        <p:cNvGrpSpPr/>
        <p:nvPr/>
      </p:nvGrpSpPr>
      <p:grpSpPr>
        <a:xfrm>
          <a:off x="0" y="0"/>
          <a:ext cx="0" cy="0"/>
          <a:chOff x="0" y="0"/>
          <a:chExt cx="0" cy="0"/>
        </a:xfrm>
      </p:grpSpPr>
      <p:pic>
        <p:nvPicPr>
          <p:cNvPr id="2" name="Picture Placeholder 13">
            <a:extLst>
              <a:ext uri="{FF2B5EF4-FFF2-40B4-BE49-F238E27FC236}">
                <a16:creationId xmlns:a16="http://schemas.microsoft.com/office/drawing/2014/main" id="{870144F7-5E22-0A1A-D0F3-BF45F6C538B0}"/>
              </a:ext>
            </a:extLst>
          </p:cNvPr>
          <p:cNvPicPr>
            <a:picLocks noChangeAspect="1"/>
          </p:cNvPicPr>
          <p:nvPr userDrawn="1"/>
        </p:nvPicPr>
        <p:blipFill>
          <a:blip r:embed="rId2">
            <a:extLst>
              <a:ext uri="{28A0092B-C50C-407E-A947-70E740481C1C}">
                <a14:useLocalDpi xmlns:a14="http://schemas.microsoft.com/office/drawing/2010/main" val="0"/>
              </a:ext>
            </a:extLst>
          </a:blip>
          <a:srcRect t="21906" b="21906"/>
          <a:stretch/>
        </p:blipFill>
        <p:spPr>
          <a:xfrm>
            <a:off x="344850" y="0"/>
            <a:ext cx="12202750" cy="6856566"/>
          </a:xfrm>
          <a:prstGeom prst="rect">
            <a:avLst/>
          </a:prstGeom>
        </p:spPr>
      </p:pic>
      <p:sp>
        <p:nvSpPr>
          <p:cNvPr id="14" name="Tijdelijke aanduiding voor verticale tekst 2">
            <a:extLst>
              <a:ext uri="{FF2B5EF4-FFF2-40B4-BE49-F238E27FC236}">
                <a16:creationId xmlns:a16="http://schemas.microsoft.com/office/drawing/2014/main" id="{38E196F7-3159-4F76-AFD4-91CD28F545FD}"/>
              </a:ext>
            </a:extLst>
          </p:cNvPr>
          <p:cNvSpPr>
            <a:spLocks noGrp="1"/>
          </p:cNvSpPr>
          <p:nvPr>
            <p:ph type="body" orient="vert" idx="21" hasCustomPrompt="1"/>
          </p:nvPr>
        </p:nvSpPr>
        <p:spPr>
          <a:xfrm>
            <a:off x="550863" y="3127673"/>
            <a:ext cx="4358649" cy="2738973"/>
          </a:xfrm>
          <a:prstGeom prst="snip1Rect">
            <a:avLst/>
          </a:prstGeom>
          <a:solidFill>
            <a:schemeClr val="accent1"/>
          </a:solidFill>
        </p:spPr>
        <p:txBody>
          <a:bodyPr vert="horz" lIns="0" tIns="0" rIns="0" bIns="0"/>
          <a:lstStyle>
            <a:lvl1pPr marL="0" indent="0">
              <a:buFontTx/>
              <a:buNone/>
              <a:defRPr sz="100" b="1">
                <a:solidFill>
                  <a:schemeClr val="accent1"/>
                </a:solidFill>
              </a:defRPr>
            </a:lvl1pPr>
            <a:lvl2pPr>
              <a:defRPr/>
            </a:lvl2pPr>
            <a:lvl3pPr>
              <a:defRPr/>
            </a:lvl3pPr>
            <a:lvl4pPr>
              <a:defRPr/>
            </a:lvl4pPr>
            <a:lvl5pPr>
              <a:defRPr/>
            </a:lvl5pPr>
            <a:lvl6pPr>
              <a:defRPr/>
            </a:lvl6pPr>
            <a:lvl7pPr>
              <a:defRPr/>
            </a:lvl7pPr>
            <a:lvl8pPr>
              <a:defRPr/>
            </a:lvl8pPr>
            <a:lvl9pPr>
              <a:defRPr/>
            </a:lvl9pPr>
          </a:lstStyle>
          <a:p>
            <a:pPr lvl="0"/>
            <a:r>
              <a:rPr lang="en-US" noProof="1"/>
              <a:t>.</a:t>
            </a:r>
          </a:p>
        </p:txBody>
      </p:sp>
      <p:sp>
        <p:nvSpPr>
          <p:cNvPr id="31" name="Tijdelijke aanduiding voor verticale tekst 2">
            <a:extLst>
              <a:ext uri="{FF2B5EF4-FFF2-40B4-BE49-F238E27FC236}">
                <a16:creationId xmlns:a16="http://schemas.microsoft.com/office/drawing/2014/main" id="{8FE49FBD-85AF-4A73-902D-F553D2494269}"/>
              </a:ext>
            </a:extLst>
          </p:cNvPr>
          <p:cNvSpPr>
            <a:spLocks noGrp="1"/>
          </p:cNvSpPr>
          <p:nvPr>
            <p:ph type="body" orient="vert" idx="23" hasCustomPrompt="1"/>
          </p:nvPr>
        </p:nvSpPr>
        <p:spPr>
          <a:xfrm>
            <a:off x="890062" y="3680261"/>
            <a:ext cx="3348000" cy="725744"/>
          </a:xfrm>
          <a:blipFill>
            <a:blip r:embed="rId3"/>
            <a:stretch>
              <a:fillRect/>
            </a:stretch>
          </a:blipFill>
        </p:spPr>
        <p:txBody>
          <a:bodyPr vert="horz" lIns="0" tIns="0" rIns="0" bIns="0"/>
          <a:lstStyle>
            <a:lvl1pPr marL="0" indent="0">
              <a:buFontTx/>
              <a:buNone/>
              <a:defRPr sz="100" b="1"/>
            </a:lvl1pPr>
            <a:lvl2pPr>
              <a:defRPr/>
            </a:lvl2pPr>
            <a:lvl3pPr>
              <a:defRPr/>
            </a:lvl3pPr>
            <a:lvl4pPr>
              <a:defRPr/>
            </a:lvl4pPr>
            <a:lvl5pPr>
              <a:defRPr/>
            </a:lvl5pPr>
            <a:lvl6pPr>
              <a:defRPr/>
            </a:lvl6pPr>
            <a:lvl7pPr>
              <a:defRPr/>
            </a:lvl7pPr>
            <a:lvl8pPr>
              <a:defRPr/>
            </a:lvl8pPr>
            <a:lvl9pPr>
              <a:defRPr/>
            </a:lvl9pPr>
          </a:lstStyle>
          <a:p>
            <a:pPr lvl="0"/>
            <a:r>
              <a:rPr lang="en-US" noProof="1"/>
              <a:t>      </a:t>
            </a:r>
          </a:p>
        </p:txBody>
      </p:sp>
      <p:sp>
        <p:nvSpPr>
          <p:cNvPr id="84" name="Tijdelijke aanduiding voor tekst 412">
            <a:extLst>
              <a:ext uri="{FF2B5EF4-FFF2-40B4-BE49-F238E27FC236}">
                <a16:creationId xmlns:a16="http://schemas.microsoft.com/office/drawing/2014/main" id="{FA36E63A-5989-402B-85D0-722ABF89FCA0}"/>
              </a:ext>
            </a:extLst>
          </p:cNvPr>
          <p:cNvSpPr>
            <a:spLocks noGrp="1"/>
          </p:cNvSpPr>
          <p:nvPr>
            <p:ph type="body" sz="quarter" idx="53" hasCustomPrompt="1"/>
          </p:nvPr>
        </p:nvSpPr>
        <p:spPr>
          <a:xfrm>
            <a:off x="1092200" y="5574079"/>
            <a:ext cx="3543320" cy="198000"/>
          </a:xfrm>
        </p:spPr>
        <p:txBody>
          <a:bodyPr anchor="ctr"/>
          <a:lstStyle>
            <a:lvl1pPr marL="0" indent="0">
              <a:lnSpc>
                <a:spcPct val="80000"/>
              </a:lnSpc>
              <a:buNone/>
              <a:defRPr sz="1050" b="0">
                <a:solidFill>
                  <a:schemeClr val="bg1"/>
                </a:solidFill>
                <a:latin typeface="+mj-lt"/>
              </a:defRPr>
            </a:lvl1pPr>
          </a:lstStyle>
          <a:p>
            <a:pPr lvl="0"/>
            <a:r>
              <a:rPr lang="en-US"/>
              <a:t>Name</a:t>
            </a:r>
          </a:p>
        </p:txBody>
      </p:sp>
      <p:sp>
        <p:nvSpPr>
          <p:cNvPr id="6" name="Titel 5"/>
          <p:cNvSpPr>
            <a:spLocks noGrp="1"/>
          </p:cNvSpPr>
          <p:nvPr>
            <p:ph type="title" hasCustomPrompt="1"/>
          </p:nvPr>
        </p:nvSpPr>
        <p:spPr>
          <a:xfrm>
            <a:off x="1092200" y="4601632"/>
            <a:ext cx="3543320" cy="670711"/>
          </a:xfrm>
        </p:spPr>
        <p:txBody>
          <a:bodyPr rIns="36000" anchor="ctr">
            <a:noAutofit/>
          </a:bodyPr>
          <a:lstStyle>
            <a:lvl1pPr>
              <a:defRPr b="0" cap="none" baseline="0">
                <a:solidFill>
                  <a:schemeClr val="bg1"/>
                </a:solidFill>
              </a:defRPr>
            </a:lvl1pPr>
          </a:lstStyle>
          <a:p>
            <a:r>
              <a:rPr lang="en-US" noProof="0"/>
              <a:t>[Insert title]</a:t>
            </a:r>
            <a:br>
              <a:rPr lang="en-US" noProof="0"/>
            </a:br>
            <a:r>
              <a:rPr lang="en-US" noProof="0"/>
              <a:t>(SEGMENT)</a:t>
            </a:r>
          </a:p>
        </p:txBody>
      </p:sp>
    </p:spTree>
    <p:extLst>
      <p:ext uri="{BB962C8B-B14F-4D97-AF65-F5344CB8AC3E}">
        <p14:creationId xmlns:p14="http://schemas.microsoft.com/office/powerpoint/2010/main" val="1935203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4">
                                            <p:bg/>
                                          </p:spTgt>
                                        </p:tgtEl>
                                        <p:attrNameLst>
                                          <p:attrName>style.visibility</p:attrName>
                                        </p:attrNameLst>
                                      </p:cBhvr>
                                      <p:to>
                                        <p:strVal val="visible"/>
                                      </p:to>
                                    </p:set>
                                    <p:anim calcmode="lin" valueType="num">
                                      <p:cBhvr additive="base">
                                        <p:cTn id="7" dur="1000" fill="hold"/>
                                        <p:tgtEl>
                                          <p:spTgt spid="14">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14">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nodePh="1">
                                  <p:stCondLst>
                                    <p:cond delay="0"/>
                                  </p:stCondLst>
                                  <p:endCondLst>
                                    <p:cond evt="begin" delay="0">
                                      <p:tn val="9"/>
                                    </p:cond>
                                  </p:endCondLst>
                                  <p:childTnLst>
                                    <p:set>
                                      <p:cBhvr>
                                        <p:cTn id="10" dur="1" fill="hold">
                                          <p:stCondLst>
                                            <p:cond delay="0"/>
                                          </p:stCondLst>
                                        </p:cTn>
                                        <p:tgtEl>
                                          <p:spTgt spid="14">
                                            <p:txEl>
                                              <p:pRg st="0" end="0"/>
                                            </p:txEl>
                                          </p:spTgt>
                                        </p:tgtEl>
                                        <p:attrNameLst>
                                          <p:attrName>style.visibility</p:attrName>
                                        </p:attrNameLst>
                                      </p:cBhvr>
                                      <p:to>
                                        <p:strVal val="visible"/>
                                      </p:to>
                                    </p:set>
                                    <p:anim calcmode="lin" valueType="num">
                                      <p:cBhvr additive="base">
                                        <p:cTn id="11" dur="100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14">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4" accel="50000" decel="50000" fill="hold" grpId="0" nodeType="withEffect">
                                  <p:stCondLst>
                                    <p:cond delay="2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2000" fill="hold"/>
                                        <p:tgtEl>
                                          <p:spTgt spid="31"/>
                                        </p:tgtEl>
                                        <p:attrNameLst>
                                          <p:attrName>ppt_x</p:attrName>
                                        </p:attrNameLst>
                                      </p:cBhvr>
                                      <p:tavLst>
                                        <p:tav tm="0">
                                          <p:val>
                                            <p:strVal val="#ppt_x"/>
                                          </p:val>
                                        </p:tav>
                                        <p:tav tm="100000">
                                          <p:val>
                                            <p:strVal val="#ppt_x"/>
                                          </p:val>
                                        </p:tav>
                                      </p:tavLst>
                                    </p:anim>
                                    <p:anim calcmode="lin" valueType="num">
                                      <p:cBhvr additive="base">
                                        <p:cTn id="16" dur="2000" fill="hold"/>
                                        <p:tgtEl>
                                          <p:spTgt spid="31"/>
                                        </p:tgtEl>
                                        <p:attrNameLst>
                                          <p:attrName>ppt_y</p:attrName>
                                        </p:attrNameLst>
                                      </p:cBhvr>
                                      <p:tavLst>
                                        <p:tav tm="0">
                                          <p:val>
                                            <p:strVal val="1+#ppt_h/2"/>
                                          </p:val>
                                        </p:tav>
                                        <p:tav tm="100000">
                                          <p:val>
                                            <p:strVal val="#ppt_y"/>
                                          </p:val>
                                        </p:tav>
                                      </p:tavLst>
                                    </p:anim>
                                  </p:childTnLst>
                                </p:cTn>
                              </p:par>
                              <p:par>
                                <p:cTn id="17" presetID="2" presetClass="entr" presetSubtype="4" accel="50000" decel="50000" fill="hold" grpId="0" nodeType="withEffect">
                                  <p:stCondLst>
                                    <p:cond delay="10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500" fill="hold"/>
                                        <p:tgtEl>
                                          <p:spTgt spid="6"/>
                                        </p:tgtEl>
                                        <p:attrNameLst>
                                          <p:attrName>ppt_x</p:attrName>
                                        </p:attrNameLst>
                                      </p:cBhvr>
                                      <p:tavLst>
                                        <p:tav tm="0">
                                          <p:val>
                                            <p:strVal val="#ppt_x"/>
                                          </p:val>
                                        </p:tav>
                                        <p:tav tm="100000">
                                          <p:val>
                                            <p:strVal val="#ppt_x"/>
                                          </p:val>
                                        </p:tav>
                                      </p:tavLst>
                                    </p:anim>
                                    <p:anim calcmode="lin" valueType="num">
                                      <p:cBhvr additive="base">
                                        <p:cTn id="20" dur="1500" fill="hold"/>
                                        <p:tgtEl>
                                          <p:spTgt spid="6"/>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0"/>
                                  </p:stCondLst>
                                  <p:childTnLst>
                                    <p:set>
                                      <p:cBhvr>
                                        <p:cTn id="22" dur="1" fill="hold">
                                          <p:stCondLst>
                                            <p:cond delay="0"/>
                                          </p:stCondLst>
                                        </p:cTn>
                                        <p:tgtEl>
                                          <p:spTgt spid="84"/>
                                        </p:tgtEl>
                                        <p:attrNameLst>
                                          <p:attrName>style.visibility</p:attrName>
                                        </p:attrNameLst>
                                      </p:cBhvr>
                                      <p:to>
                                        <p:strVal val="visible"/>
                                      </p:to>
                                    </p:set>
                                    <p:anim calcmode="lin" valueType="num">
                                      <p:cBhvr additive="base">
                                        <p:cTn id="23" dur="1500" fill="hold"/>
                                        <p:tgtEl>
                                          <p:spTgt spid="84"/>
                                        </p:tgtEl>
                                        <p:attrNameLst>
                                          <p:attrName>ppt_x</p:attrName>
                                        </p:attrNameLst>
                                      </p:cBhvr>
                                      <p:tavLst>
                                        <p:tav tm="0">
                                          <p:val>
                                            <p:strVal val="#ppt_x"/>
                                          </p:val>
                                        </p:tav>
                                        <p:tav tm="100000">
                                          <p:val>
                                            <p:strVal val="#ppt_x"/>
                                          </p:val>
                                        </p:tav>
                                      </p:tavLst>
                                    </p:anim>
                                    <p:anim calcmode="lin" valueType="num">
                                      <p:cBhvr additive="base">
                                        <p:cTn id="24" dur="1500" fill="hold"/>
                                        <p:tgtEl>
                                          <p:spTgt spid="84"/>
                                        </p:tgtEl>
                                        <p:attrNameLst>
                                          <p:attrName>ppt_y</p:attrName>
                                        </p:attrNameLst>
                                      </p:cBhvr>
                                      <p:tavLst>
                                        <p:tav tm="0">
                                          <p:val>
                                            <p:strVal val="1+#ppt_h/2"/>
                                          </p:val>
                                        </p:tav>
                                        <p:tav tm="100000">
                                          <p:val>
                                            <p:strVal val="#ppt_y"/>
                                          </p:val>
                                        </p:tav>
                                      </p:tavLst>
                                    </p:anim>
                                  </p:childTnLst>
                                </p:cTn>
                              </p:par>
                              <p:par>
                                <p:cTn id="25" presetID="2" presetClass="entr" presetSubtype="8" fill="hold" nodeType="withEffect">
                                  <p:stCondLst>
                                    <p:cond delay="60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1400" fill="hold"/>
                                        <p:tgtEl>
                                          <p:spTgt spid="2"/>
                                        </p:tgtEl>
                                        <p:attrNameLst>
                                          <p:attrName>ppt_x</p:attrName>
                                        </p:attrNameLst>
                                      </p:cBhvr>
                                      <p:tavLst>
                                        <p:tav tm="0">
                                          <p:val>
                                            <p:strVal val="0-#ppt_w/2"/>
                                          </p:val>
                                        </p:tav>
                                        <p:tav tm="100000">
                                          <p:val>
                                            <p:strVal val="#ppt_x"/>
                                          </p:val>
                                        </p:tav>
                                      </p:tavLst>
                                    </p:anim>
                                    <p:anim calcmode="lin" valueType="num">
                                      <p:cBhvr additive="base">
                                        <p:cTn id="28" dur="14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animBg="1">
        <p:tmplLst>
          <p:tmpl>
            <p:tnLst>
              <p:par>
                <p:cTn presetID="2" presetClass="entr" presetSubtype="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1000" fill="hold"/>
                        <p:tgtEl>
                          <p:spTgt spid="14"/>
                        </p:tgtEl>
                        <p:attrNameLst>
                          <p:attrName>ppt_x</p:attrName>
                        </p:attrNameLst>
                      </p:cBhvr>
                      <p:tavLst>
                        <p:tav tm="0">
                          <p:val>
                            <p:strVal val="0-#ppt_w/2"/>
                          </p:val>
                        </p:tav>
                        <p:tav tm="100000">
                          <p:val>
                            <p:strVal val="#ppt_x"/>
                          </p:val>
                        </p:tav>
                      </p:tavLst>
                    </p:anim>
                    <p:anim calcmode="lin" valueType="num">
                      <p:cBhvr additive="base">
                        <p:cTn dur="1000" fill="hold"/>
                        <p:tgtEl>
                          <p:spTgt spid="14"/>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0"/>
                  </p:stCondLst>
                  <p:endCondLst>
                    <p:cond delay="0"/>
                  </p:endCondLst>
                  <p:childTnLst>
                    <p:set>
                      <p:cBhvr>
                        <p:cTn dur="1" fill="hold">
                          <p:stCondLst>
                            <p:cond delay="0"/>
                          </p:stCondLst>
                        </p:cTn>
                        <p:tgtEl>
                          <p:spTgt spid="14"/>
                        </p:tgtEl>
                        <p:attrNameLst>
                          <p:attrName>style.visibility</p:attrName>
                        </p:attrNameLst>
                      </p:cBhvr>
                      <p:to>
                        <p:strVal val="visible"/>
                      </p:to>
                    </p:set>
                    <p:anim calcmode="lin" valueType="num">
                      <p:cBhvr additive="base">
                        <p:cTn dur="1000" fill="hold"/>
                        <p:tgtEl>
                          <p:spTgt spid="14"/>
                        </p:tgtEl>
                        <p:attrNameLst>
                          <p:attrName>ppt_x</p:attrName>
                        </p:attrNameLst>
                      </p:cBhvr>
                      <p:tavLst>
                        <p:tav tm="0">
                          <p:val>
                            <p:strVal val="0-#ppt_w/2"/>
                          </p:val>
                        </p:tav>
                        <p:tav tm="100000">
                          <p:val>
                            <p:strVal val="#ppt_x"/>
                          </p:val>
                        </p:tav>
                      </p:tavLst>
                    </p:anim>
                    <p:anim calcmode="lin" valueType="num">
                      <p:cBhvr additive="base">
                        <p:cTn dur="1000" fill="hold"/>
                        <p:tgtEl>
                          <p:spTgt spid="14"/>
                        </p:tgtEl>
                        <p:attrNameLst>
                          <p:attrName>ppt_y</p:attrName>
                        </p:attrNameLst>
                      </p:cBhvr>
                      <p:tavLst>
                        <p:tav tm="0">
                          <p:val>
                            <p:strVal val="#ppt_y"/>
                          </p:val>
                        </p:tav>
                        <p:tav tm="100000">
                          <p:val>
                            <p:strVal val="#ppt_y"/>
                          </p:val>
                        </p:tav>
                      </p:tavLst>
                    </p:anim>
                  </p:childTnLst>
                </p:cTn>
              </p:par>
            </p:tnLst>
          </p:tmpl>
        </p:tmplLst>
      </p:bldP>
      <p:bldP spid="31" grpId="0" animBg="1">
        <p:tmplLst>
          <p:tmpl>
            <p:tnLst>
              <p:par>
                <p:cTn presetID="2" presetClass="entr" presetSubtype="4" accel="50000" decel="50000" fill="hold" nodeType="withEffect">
                  <p:stCondLst>
                    <p:cond delay="200"/>
                  </p:stCondLst>
                  <p:childTnLst>
                    <p:set>
                      <p:cBhvr>
                        <p:cTn dur="1" fill="hold">
                          <p:stCondLst>
                            <p:cond delay="0"/>
                          </p:stCondLst>
                        </p:cTn>
                        <p:tgtEl>
                          <p:spTgt spid="31"/>
                        </p:tgtEl>
                        <p:attrNameLst>
                          <p:attrName>style.visibility</p:attrName>
                        </p:attrNameLst>
                      </p:cBhvr>
                      <p:to>
                        <p:strVal val="visible"/>
                      </p:to>
                    </p:set>
                    <p:anim calcmode="lin" valueType="num">
                      <p:cBhvr additive="base">
                        <p:cTn dur="2000" fill="hold"/>
                        <p:tgtEl>
                          <p:spTgt spid="31"/>
                        </p:tgtEl>
                        <p:attrNameLst>
                          <p:attrName>ppt_x</p:attrName>
                        </p:attrNameLst>
                      </p:cBhvr>
                      <p:tavLst>
                        <p:tav tm="0">
                          <p:val>
                            <p:strVal val="#ppt_x"/>
                          </p:val>
                        </p:tav>
                        <p:tav tm="100000">
                          <p:val>
                            <p:strVal val="#ppt_x"/>
                          </p:val>
                        </p:tav>
                      </p:tavLst>
                    </p:anim>
                    <p:anim calcmode="lin" valueType="num">
                      <p:cBhvr additive="base">
                        <p:cTn dur="2000" fill="hold"/>
                        <p:tgtEl>
                          <p:spTgt spid="31"/>
                        </p:tgtEl>
                        <p:attrNameLst>
                          <p:attrName>ppt_y</p:attrName>
                        </p:attrNameLst>
                      </p:cBhvr>
                      <p:tavLst>
                        <p:tav tm="0">
                          <p:val>
                            <p:strVal val="1+#ppt_h/2"/>
                          </p:val>
                        </p:tav>
                        <p:tav tm="100000">
                          <p:val>
                            <p:strVal val="#ppt_y"/>
                          </p:val>
                        </p:tav>
                      </p:tavLst>
                    </p:anim>
                  </p:childTnLst>
                </p:cTn>
              </p:par>
            </p:tnLst>
          </p:tmpl>
        </p:tmplLst>
      </p:bldP>
      <p:bldP spid="84" grpId="0">
        <p:tmplLst>
          <p:tmpl>
            <p:tnLst>
              <p:par>
                <p:cTn presetID="2" presetClass="entr" presetSubtype="4" decel="100000" fill="hold" nodeType="withEffect">
                  <p:stCondLst>
                    <p:cond delay="1000"/>
                  </p:stCondLst>
                  <p:childTnLst>
                    <p:set>
                      <p:cBhvr>
                        <p:cTn dur="1" fill="hold">
                          <p:stCondLst>
                            <p:cond delay="0"/>
                          </p:stCondLst>
                        </p:cTn>
                        <p:tgtEl>
                          <p:spTgt spid="84"/>
                        </p:tgtEl>
                        <p:attrNameLst>
                          <p:attrName>style.visibility</p:attrName>
                        </p:attrNameLst>
                      </p:cBhvr>
                      <p:to>
                        <p:strVal val="visible"/>
                      </p:to>
                    </p:set>
                    <p:anim calcmode="lin" valueType="num">
                      <p:cBhvr additive="base">
                        <p:cTn dur="1500" fill="hold"/>
                        <p:tgtEl>
                          <p:spTgt spid="84"/>
                        </p:tgtEl>
                        <p:attrNameLst>
                          <p:attrName>ppt_x</p:attrName>
                        </p:attrNameLst>
                      </p:cBhvr>
                      <p:tavLst>
                        <p:tav tm="0">
                          <p:val>
                            <p:strVal val="#ppt_x"/>
                          </p:val>
                        </p:tav>
                        <p:tav tm="100000">
                          <p:val>
                            <p:strVal val="#ppt_x"/>
                          </p:val>
                        </p:tav>
                      </p:tavLst>
                    </p:anim>
                    <p:anim calcmode="lin" valueType="num">
                      <p:cBhvr additive="base">
                        <p:cTn dur="1500" fill="hold"/>
                        <p:tgtEl>
                          <p:spTgt spid="84"/>
                        </p:tgtEl>
                        <p:attrNameLst>
                          <p:attrName>ppt_y</p:attrName>
                        </p:attrNameLst>
                      </p:cBhvr>
                      <p:tavLst>
                        <p:tav tm="0">
                          <p:val>
                            <p:strVal val="1+#ppt_h/2"/>
                          </p:val>
                        </p:tav>
                        <p:tav tm="100000">
                          <p:val>
                            <p:strVal val="#ppt_y"/>
                          </p:val>
                        </p:tav>
                      </p:tavLst>
                    </p:anim>
                  </p:childTnLst>
                </p:cTn>
              </p:par>
            </p:tnLst>
          </p:tmpl>
        </p:tmplLst>
      </p:bldP>
      <p:bldP spid="6"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4" name="Picture 23" descr="A picture containing stationary, envelope, businesscard&#10;&#10;Description automatically generated">
            <a:extLst>
              <a:ext uri="{FF2B5EF4-FFF2-40B4-BE49-F238E27FC236}">
                <a16:creationId xmlns:a16="http://schemas.microsoft.com/office/drawing/2014/main" id="{42A6F829-81CD-36F1-1780-F0F4895CD46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896" t="32614"/>
          <a:stretch/>
        </p:blipFill>
        <p:spPr>
          <a:xfrm>
            <a:off x="-1" y="0"/>
            <a:ext cx="5013464" cy="4621320"/>
          </a:xfrm>
          <a:prstGeom prst="rect">
            <a:avLst/>
          </a:prstGeom>
        </p:spPr>
      </p:pic>
      <p:pic>
        <p:nvPicPr>
          <p:cNvPr id="6" name="Picture 25" descr="A picture containing text, businesscard, envelope&#10;&#10;Description automatically generated">
            <a:extLst>
              <a:ext uri="{FF2B5EF4-FFF2-40B4-BE49-F238E27FC236}">
                <a16:creationId xmlns:a16="http://schemas.microsoft.com/office/drawing/2014/main" id="{7EEE6536-73AB-192F-5FEC-770701F77EC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85" t="-1017" r="20164" b="33122"/>
          <a:stretch/>
        </p:blipFill>
        <p:spPr>
          <a:xfrm>
            <a:off x="6690510" y="2201781"/>
            <a:ext cx="5501490" cy="4656219"/>
          </a:xfrm>
          <a:prstGeom prst="rect">
            <a:avLst/>
          </a:prstGeom>
        </p:spPr>
      </p:pic>
      <p:sp>
        <p:nvSpPr>
          <p:cNvPr id="2" name="Titel 1">
            <a:extLst>
              <a:ext uri="{FF2B5EF4-FFF2-40B4-BE49-F238E27FC236}">
                <a16:creationId xmlns:a16="http://schemas.microsoft.com/office/drawing/2014/main" id="{1872F8B3-FCA5-A102-6362-7EDE694A3E96}"/>
              </a:ext>
            </a:extLst>
          </p:cNvPr>
          <p:cNvSpPr>
            <a:spLocks noGrp="1"/>
          </p:cNvSpPr>
          <p:nvPr>
            <p:ph type="title" hasCustomPrompt="1"/>
          </p:nvPr>
        </p:nvSpPr>
        <p:spPr>
          <a:xfrm>
            <a:off x="2056615" y="3507896"/>
            <a:ext cx="8078771" cy="581504"/>
          </a:xfrm>
        </p:spPr>
        <p:txBody>
          <a:bodyPr anchor="ctr"/>
          <a:lstStyle>
            <a:lvl1pPr algn="ctr">
              <a:defRPr sz="4000" b="0">
                <a:solidFill>
                  <a:schemeClr val="tx1"/>
                </a:solidFill>
              </a:defRPr>
            </a:lvl1pPr>
          </a:lstStyle>
          <a:p>
            <a:r>
              <a:rPr lang="en-US"/>
              <a:t>[Insert chapter title here]</a:t>
            </a:r>
          </a:p>
        </p:txBody>
      </p:sp>
    </p:spTree>
    <p:extLst>
      <p:ext uri="{BB962C8B-B14F-4D97-AF65-F5344CB8AC3E}">
        <p14:creationId xmlns:p14="http://schemas.microsoft.com/office/powerpoint/2010/main" val="19472780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1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10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1F1AB7F0-A183-4E3D-883C-6313A1D5ED02}" type="slidenum">
              <a:rPr lang="en-US" smtClean="0"/>
              <a:pPr/>
              <a:t>‹#›</a:t>
            </a:fld>
            <a:endParaRPr lang="en-US"/>
          </a:p>
        </p:txBody>
      </p:sp>
      <p:sp>
        <p:nvSpPr>
          <p:cNvPr id="5" name="Content Placeholder 4"/>
          <p:cNvSpPr>
            <a:spLocks noGrp="1"/>
          </p:cNvSpPr>
          <p:nvPr>
            <p:ph sz="quarter" idx="11" hasCustomPrompt="1"/>
          </p:nvPr>
        </p:nvSpPr>
        <p:spPr>
          <a:xfrm>
            <a:off x="550863" y="1131854"/>
            <a:ext cx="11088687" cy="5176871"/>
          </a:xfrm>
        </p:spPr>
        <p:txBody>
          <a:bodyPr/>
          <a:lstStyle>
            <a:lvl9pPr>
              <a:defRPr b="0"/>
            </a:lvl9pPr>
          </a:lstStyle>
          <a:p>
            <a:pPr lvl="0"/>
            <a:r>
              <a:rPr lang="en-US" noProof="0"/>
              <a:t>Bullet</a:t>
            </a:r>
          </a:p>
          <a:p>
            <a:pPr lvl="1"/>
            <a:r>
              <a:rPr lang="en-US" noProof="0"/>
              <a:t>Sub-bullet</a:t>
            </a:r>
          </a:p>
          <a:p>
            <a:pPr lvl="2"/>
            <a:r>
              <a:rPr lang="en-US" noProof="0"/>
              <a:t>Plain text</a:t>
            </a:r>
          </a:p>
          <a:p>
            <a:pPr lvl="3"/>
            <a:r>
              <a:rPr lang="en-US" noProof="0"/>
              <a:t>Subtitle</a:t>
            </a:r>
          </a:p>
          <a:p>
            <a:pPr lvl="4"/>
            <a:r>
              <a:rPr lang="en-US" noProof="0"/>
              <a:t>Numerical bullet</a:t>
            </a:r>
          </a:p>
          <a:p>
            <a:pPr lvl="5"/>
            <a:r>
              <a:rPr lang="en-US" noProof="0"/>
              <a:t>Bullet</a:t>
            </a:r>
          </a:p>
          <a:p>
            <a:pPr lvl="6"/>
            <a:r>
              <a:rPr lang="en-US" noProof="0"/>
              <a:t>Sub-bullet</a:t>
            </a:r>
          </a:p>
          <a:p>
            <a:pPr lvl="7"/>
            <a:r>
              <a:rPr lang="en-US" noProof="0"/>
              <a:t>Plain text</a:t>
            </a:r>
          </a:p>
          <a:p>
            <a:pPr lvl="8"/>
            <a:r>
              <a:rPr lang="en-US" noProof="0"/>
              <a:t>Subtitle bold</a:t>
            </a:r>
          </a:p>
          <a:p>
            <a:pPr lvl="0"/>
            <a:endParaRPr lang="en-US"/>
          </a:p>
        </p:txBody>
      </p:sp>
      <p:sp>
        <p:nvSpPr>
          <p:cNvPr id="2" name="Titel 1">
            <a:extLst>
              <a:ext uri="{FF2B5EF4-FFF2-40B4-BE49-F238E27FC236}">
                <a16:creationId xmlns:a16="http://schemas.microsoft.com/office/drawing/2014/main" id="{8F0EE52D-2D3F-1A31-8AC4-387FAEAC2AB2}"/>
              </a:ext>
            </a:extLst>
          </p:cNvPr>
          <p:cNvSpPr>
            <a:spLocks noGrp="1"/>
          </p:cNvSpPr>
          <p:nvPr>
            <p:ph type="title" hasCustomPrompt="1"/>
          </p:nvPr>
        </p:nvSpPr>
        <p:spPr/>
        <p:txBody>
          <a:bodyPr/>
          <a:lstStyle/>
          <a:p>
            <a:r>
              <a:rPr lang="en-US" noProof="0"/>
              <a:t>Add a slide title, max. 1 line</a:t>
            </a:r>
            <a:endParaRPr lang="en-US"/>
          </a:p>
        </p:txBody>
      </p:sp>
    </p:spTree>
    <p:extLst>
      <p:ext uri="{BB962C8B-B14F-4D97-AF65-F5344CB8AC3E}">
        <p14:creationId xmlns:p14="http://schemas.microsoft.com/office/powerpoint/2010/main" val="13249669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0% TABLE">
    <p:spTree>
      <p:nvGrpSpPr>
        <p:cNvPr id="1" name=""/>
        <p:cNvGrpSpPr/>
        <p:nvPr/>
      </p:nvGrpSpPr>
      <p:grpSpPr>
        <a:xfrm>
          <a:off x="0" y="0"/>
          <a:ext cx="0" cy="0"/>
          <a:chOff x="0" y="0"/>
          <a:chExt cx="0" cy="0"/>
        </a:xfrm>
      </p:grpSpPr>
      <p:sp>
        <p:nvSpPr>
          <p:cNvPr id="47" name="Tijdelijke aanduiding voor tabel 8">
            <a:extLst>
              <a:ext uri="{FF2B5EF4-FFF2-40B4-BE49-F238E27FC236}">
                <a16:creationId xmlns:a16="http://schemas.microsoft.com/office/drawing/2014/main" id="{59B1665D-574B-4659-8C39-10F0304C2C51}"/>
              </a:ext>
            </a:extLst>
          </p:cNvPr>
          <p:cNvSpPr>
            <a:spLocks noGrp="1"/>
          </p:cNvSpPr>
          <p:nvPr>
            <p:ph type="tbl" sz="quarter" idx="15" hasCustomPrompt="1"/>
          </p:nvPr>
        </p:nvSpPr>
        <p:spPr>
          <a:xfrm>
            <a:off x="552451" y="1125539"/>
            <a:ext cx="11088687" cy="5183184"/>
          </a:xfrm>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en-US"/>
              <a:t>Click on the icon below </a:t>
            </a:r>
            <a:br>
              <a:rPr lang="en-US"/>
            </a:br>
            <a:r>
              <a:rPr lang="en-US"/>
              <a:t>to add a table.</a:t>
            </a:r>
            <a:br>
              <a:rPr lang="en-US"/>
            </a:br>
            <a:endParaRPr lang="en-US"/>
          </a:p>
        </p:txBody>
      </p:sp>
      <p:sp>
        <p:nvSpPr>
          <p:cNvPr id="2" name="Titel 1">
            <a:extLst>
              <a:ext uri="{FF2B5EF4-FFF2-40B4-BE49-F238E27FC236}">
                <a16:creationId xmlns:a16="http://schemas.microsoft.com/office/drawing/2014/main" id="{71ED83D7-19EE-4B88-8155-1C0A57B5C426}"/>
              </a:ext>
            </a:extLst>
          </p:cNvPr>
          <p:cNvSpPr>
            <a:spLocks noGrp="1"/>
          </p:cNvSpPr>
          <p:nvPr>
            <p:ph type="title" hasCustomPrompt="1"/>
          </p:nvPr>
        </p:nvSpPr>
        <p:spPr>
          <a:xfrm>
            <a:off x="552451" y="532006"/>
            <a:ext cx="11088687" cy="328039"/>
          </a:xfrm>
        </p:spPr>
        <p:txBody>
          <a:bodyPr/>
          <a:lstStyle/>
          <a:p>
            <a:r>
              <a:rPr lang="en-US" noProof="0"/>
              <a:t>Add a slide title, max. 1 line</a:t>
            </a:r>
            <a:endParaRPr lang="en-US"/>
          </a:p>
        </p:txBody>
      </p:sp>
      <p:sp>
        <p:nvSpPr>
          <p:cNvPr id="3" name="Slide Number Placeholder 3">
            <a:extLst>
              <a:ext uri="{FF2B5EF4-FFF2-40B4-BE49-F238E27FC236}">
                <a16:creationId xmlns:a16="http://schemas.microsoft.com/office/drawing/2014/main" id="{431D28AF-26B3-E7E2-5F4D-27AD8BEFCC5A}"/>
              </a:ext>
            </a:extLst>
          </p:cNvPr>
          <p:cNvSpPr>
            <a:spLocks noGrp="1"/>
          </p:cNvSpPr>
          <p:nvPr>
            <p:ph type="sldNum" sz="quarter" idx="4"/>
          </p:nvPr>
        </p:nvSpPr>
        <p:spPr>
          <a:xfrm>
            <a:off x="11222028" y="6481252"/>
            <a:ext cx="419110" cy="231068"/>
          </a:xfrm>
          <a:prstGeom prst="rect">
            <a:avLst/>
          </a:prstGeom>
        </p:spPr>
        <p:txBody>
          <a:bodyPr vert="horz" lIns="0" tIns="0" rIns="0" bIns="0" rtlCol="0" anchor="ctr"/>
          <a:lstStyle>
            <a:lvl1pPr algn="r">
              <a:defRPr sz="1050">
                <a:solidFill>
                  <a:schemeClr val="tx1">
                    <a:tint val="75000"/>
                  </a:schemeClr>
                </a:solidFill>
              </a:defRPr>
            </a:lvl1pPr>
          </a:lstStyle>
          <a:p>
            <a:fld id="{1F1AB7F0-A183-4E3D-883C-6313A1D5ED02}" type="slidenum">
              <a:rPr lang="en-US" smtClean="0"/>
              <a:pPr/>
              <a:t>‹#›</a:t>
            </a:fld>
            <a:endParaRPr lang="en-US"/>
          </a:p>
        </p:txBody>
      </p:sp>
    </p:spTree>
    <p:extLst>
      <p:ext uri="{BB962C8B-B14F-4D97-AF65-F5344CB8AC3E}">
        <p14:creationId xmlns:p14="http://schemas.microsoft.com/office/powerpoint/2010/main" val="32342393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LOSE">
    <p:spTree>
      <p:nvGrpSpPr>
        <p:cNvPr id="1" name=""/>
        <p:cNvGrpSpPr/>
        <p:nvPr/>
      </p:nvGrpSpPr>
      <p:grpSpPr>
        <a:xfrm>
          <a:off x="0" y="0"/>
          <a:ext cx="0" cy="0"/>
          <a:chOff x="0" y="0"/>
          <a:chExt cx="0" cy="0"/>
        </a:xfrm>
      </p:grpSpPr>
      <p:sp>
        <p:nvSpPr>
          <p:cNvPr id="30" name="Website">
            <a:extLst>
              <a:ext uri="{FF2B5EF4-FFF2-40B4-BE49-F238E27FC236}">
                <a16:creationId xmlns:a16="http://schemas.microsoft.com/office/drawing/2014/main" id="{1379C1D4-47DE-B3A8-5F8A-97DED329BEF2}"/>
              </a:ext>
            </a:extLst>
          </p:cNvPr>
          <p:cNvSpPr/>
          <p:nvPr userDrawn="1"/>
        </p:nvSpPr>
        <p:spPr>
          <a:xfrm>
            <a:off x="4527664" y="4558571"/>
            <a:ext cx="2814040" cy="553998"/>
          </a:xfrm>
          <a:prstGeom prst="rect">
            <a:avLst/>
          </a:prstGeom>
        </p:spPr>
        <p:txBody>
          <a:bodyPr wrap="none">
            <a:spAutoFit/>
          </a:bodyPr>
          <a:lstStyle/>
          <a:p>
            <a:r>
              <a:rPr kumimoji="0" lang="en-US" sz="3000" b="1" i="0" u="none" strike="noStrike" kern="1200" cap="none" spc="0" normalizeH="0" baseline="0" noProof="0">
                <a:ln>
                  <a:noFill/>
                </a:ln>
                <a:solidFill>
                  <a:schemeClr val="tx1"/>
                </a:solidFill>
                <a:effectLst/>
                <a:uLnTx/>
                <a:uFillTx/>
                <a:latin typeface="+mn-lt"/>
                <a:ea typeface="+mn-ea"/>
                <a:cs typeface="+mn-cs"/>
              </a:rPr>
              <a:t>www.caldic.com</a:t>
            </a:r>
            <a:endParaRPr lang="en-US" sz="3200" b="1">
              <a:solidFill>
                <a:schemeClr val="tx1"/>
              </a:solidFill>
            </a:endParaRPr>
          </a:p>
        </p:txBody>
      </p:sp>
      <p:grpSp>
        <p:nvGrpSpPr>
          <p:cNvPr id="31" name="Hex and Logo_N">
            <a:extLst>
              <a:ext uri="{FF2B5EF4-FFF2-40B4-BE49-F238E27FC236}">
                <a16:creationId xmlns:a16="http://schemas.microsoft.com/office/drawing/2014/main" id="{AC289814-BBED-4FE7-3A41-5D607B5B4ED8}"/>
              </a:ext>
            </a:extLst>
          </p:cNvPr>
          <p:cNvGrpSpPr/>
          <p:nvPr userDrawn="1"/>
        </p:nvGrpSpPr>
        <p:grpSpPr>
          <a:xfrm>
            <a:off x="3608430" y="2907846"/>
            <a:ext cx="4980753" cy="1080000"/>
            <a:chOff x="2957387" y="2892910"/>
            <a:chExt cx="4980753" cy="1080000"/>
          </a:xfrm>
          <a:solidFill>
            <a:schemeClr val="tx2"/>
          </a:solidFill>
        </p:grpSpPr>
        <p:sp>
          <p:nvSpPr>
            <p:cNvPr id="32" name="Freeform 5">
              <a:extLst>
                <a:ext uri="{FF2B5EF4-FFF2-40B4-BE49-F238E27FC236}">
                  <a16:creationId xmlns:a16="http://schemas.microsoft.com/office/drawing/2014/main" id="{D51E836F-E94F-6547-C73D-27A5C720F579}"/>
                </a:ext>
              </a:extLst>
            </p:cNvPr>
            <p:cNvSpPr>
              <a:spLocks/>
            </p:cNvSpPr>
            <p:nvPr userDrawn="1"/>
          </p:nvSpPr>
          <p:spPr bwMode="auto">
            <a:xfrm>
              <a:off x="2957387" y="2909486"/>
              <a:ext cx="700994" cy="756745"/>
            </a:xfrm>
            <a:custGeom>
              <a:avLst/>
              <a:gdLst>
                <a:gd name="T0" fmla="*/ 767 w 767"/>
                <a:gd name="T1" fmla="*/ 828 h 828"/>
                <a:gd name="T2" fmla="*/ 638 w 767"/>
                <a:gd name="T3" fmla="*/ 596 h 828"/>
                <a:gd name="T4" fmla="*/ 276 w 767"/>
                <a:gd name="T5" fmla="*/ 596 h 828"/>
                <a:gd name="T6" fmla="*/ 622 w 767"/>
                <a:gd name="T7" fmla="*/ 0 h 828"/>
                <a:gd name="T8" fmla="*/ 327 w 767"/>
                <a:gd name="T9" fmla="*/ 0 h 828"/>
                <a:gd name="T10" fmla="*/ 0 w 767"/>
                <a:gd name="T11" fmla="*/ 569 h 828"/>
                <a:gd name="T12" fmla="*/ 148 w 767"/>
                <a:gd name="T13" fmla="*/ 828 h 828"/>
                <a:gd name="T14" fmla="*/ 767 w 767"/>
                <a:gd name="T15" fmla="*/ 828 h 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 h="828">
                  <a:moveTo>
                    <a:pt x="767" y="828"/>
                  </a:moveTo>
                  <a:lnTo>
                    <a:pt x="638" y="596"/>
                  </a:lnTo>
                  <a:lnTo>
                    <a:pt x="276" y="596"/>
                  </a:lnTo>
                  <a:lnTo>
                    <a:pt x="622" y="0"/>
                  </a:lnTo>
                  <a:lnTo>
                    <a:pt x="327" y="0"/>
                  </a:lnTo>
                  <a:lnTo>
                    <a:pt x="0" y="569"/>
                  </a:lnTo>
                  <a:lnTo>
                    <a:pt x="148" y="828"/>
                  </a:lnTo>
                  <a:lnTo>
                    <a:pt x="767" y="82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EE7D72D3-73A3-CE10-C090-A65A02BE5678}"/>
                </a:ext>
              </a:extLst>
            </p:cNvPr>
            <p:cNvSpPr>
              <a:spLocks/>
            </p:cNvSpPr>
            <p:nvPr userDrawn="1"/>
          </p:nvSpPr>
          <p:spPr bwMode="auto">
            <a:xfrm>
              <a:off x="3302404" y="2913570"/>
              <a:ext cx="850881" cy="754002"/>
            </a:xfrm>
            <a:custGeom>
              <a:avLst/>
              <a:gdLst>
                <a:gd name="T0" fmla="*/ 309 w 931"/>
                <a:gd name="T1" fmla="*/ 0 h 825"/>
                <a:gd name="T2" fmla="*/ 0 w 931"/>
                <a:gd name="T3" fmla="*/ 539 h 825"/>
                <a:gd name="T4" fmla="*/ 260 w 931"/>
                <a:gd name="T5" fmla="*/ 539 h 825"/>
                <a:gd name="T6" fmla="*/ 437 w 931"/>
                <a:gd name="T7" fmla="*/ 224 h 825"/>
                <a:gd name="T8" fmla="*/ 783 w 931"/>
                <a:gd name="T9" fmla="*/ 825 h 825"/>
                <a:gd name="T10" fmla="*/ 931 w 931"/>
                <a:gd name="T11" fmla="*/ 569 h 825"/>
                <a:gd name="T12" fmla="*/ 604 w 931"/>
                <a:gd name="T13" fmla="*/ 0 h 825"/>
                <a:gd name="T14" fmla="*/ 309 w 931"/>
                <a:gd name="T15" fmla="*/ 0 h 8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825">
                  <a:moveTo>
                    <a:pt x="309" y="0"/>
                  </a:moveTo>
                  <a:lnTo>
                    <a:pt x="0" y="539"/>
                  </a:lnTo>
                  <a:lnTo>
                    <a:pt x="260" y="539"/>
                  </a:lnTo>
                  <a:lnTo>
                    <a:pt x="437" y="224"/>
                  </a:lnTo>
                  <a:lnTo>
                    <a:pt x="783" y="825"/>
                  </a:lnTo>
                  <a:lnTo>
                    <a:pt x="931" y="569"/>
                  </a:lnTo>
                  <a:lnTo>
                    <a:pt x="604" y="0"/>
                  </a:lnTo>
                  <a:lnTo>
                    <a:pt x="30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1A5EAD0D-4F4D-9412-27D1-EA3FF5E8BE13}"/>
                </a:ext>
              </a:extLst>
            </p:cNvPr>
            <p:cNvSpPr>
              <a:spLocks/>
            </p:cNvSpPr>
            <p:nvPr userDrawn="1"/>
          </p:nvSpPr>
          <p:spPr bwMode="auto">
            <a:xfrm>
              <a:off x="3123574" y="3224159"/>
              <a:ext cx="865503" cy="729327"/>
            </a:xfrm>
            <a:custGeom>
              <a:avLst/>
              <a:gdLst>
                <a:gd name="T0" fmla="*/ 633 w 947"/>
                <a:gd name="T1" fmla="*/ 0 h 798"/>
                <a:gd name="T2" fmla="*/ 505 w 947"/>
                <a:gd name="T3" fmla="*/ 229 h 798"/>
                <a:gd name="T4" fmla="*/ 684 w 947"/>
                <a:gd name="T5" fmla="*/ 545 h 798"/>
                <a:gd name="T6" fmla="*/ 0 w 947"/>
                <a:gd name="T7" fmla="*/ 545 h 798"/>
                <a:gd name="T8" fmla="*/ 145 w 947"/>
                <a:gd name="T9" fmla="*/ 798 h 798"/>
                <a:gd name="T10" fmla="*/ 800 w 947"/>
                <a:gd name="T11" fmla="*/ 798 h 798"/>
                <a:gd name="T12" fmla="*/ 947 w 947"/>
                <a:gd name="T13" fmla="*/ 542 h 798"/>
                <a:gd name="T14" fmla="*/ 633 w 947"/>
                <a:gd name="T15" fmla="*/ 0 h 7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7" h="798">
                  <a:moveTo>
                    <a:pt x="633" y="0"/>
                  </a:moveTo>
                  <a:lnTo>
                    <a:pt x="505" y="229"/>
                  </a:lnTo>
                  <a:lnTo>
                    <a:pt x="684" y="545"/>
                  </a:lnTo>
                  <a:lnTo>
                    <a:pt x="0" y="545"/>
                  </a:lnTo>
                  <a:lnTo>
                    <a:pt x="145" y="798"/>
                  </a:lnTo>
                  <a:lnTo>
                    <a:pt x="800" y="798"/>
                  </a:lnTo>
                  <a:lnTo>
                    <a:pt x="947" y="542"/>
                  </a:lnTo>
                  <a:lnTo>
                    <a:pt x="63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 name="6. Caldic_C">
              <a:extLst>
                <a:ext uri="{FF2B5EF4-FFF2-40B4-BE49-F238E27FC236}">
                  <a16:creationId xmlns:a16="http://schemas.microsoft.com/office/drawing/2014/main" id="{6A22EAA5-0B44-14E5-6266-1259FCF8C5C6}"/>
                </a:ext>
              </a:extLst>
            </p:cNvPr>
            <p:cNvSpPr/>
            <p:nvPr userDrawn="1"/>
          </p:nvSpPr>
          <p:spPr>
            <a:xfrm>
              <a:off x="7372863" y="2892910"/>
              <a:ext cx="565277" cy="1080000"/>
            </a:xfrm>
            <a:custGeom>
              <a:avLst/>
              <a:gdLst>
                <a:gd name="connsiteX0" fmla="*/ 474730 w 716639"/>
                <a:gd name="connsiteY0" fmla="*/ 1019295 h 1369187"/>
                <a:gd name="connsiteX1" fmla="*/ 472877 w 716639"/>
                <a:gd name="connsiteY1" fmla="*/ 1077900 h 1369187"/>
                <a:gd name="connsiteX2" fmla="*/ 460909 w 716639"/>
                <a:gd name="connsiteY2" fmla="*/ 1129980 h 1369187"/>
                <a:gd name="connsiteX3" fmla="*/ 427669 w 716639"/>
                <a:gd name="connsiteY3" fmla="*/ 1167197 h 1369187"/>
                <a:gd name="connsiteX4" fmla="*/ 362037 w 716639"/>
                <a:gd name="connsiteY4" fmla="*/ 1181134 h 1369187"/>
                <a:gd name="connsiteX5" fmla="*/ 297448 w 716639"/>
                <a:gd name="connsiteY5" fmla="*/ 1169050 h 1369187"/>
                <a:gd name="connsiteX6" fmla="*/ 261467 w 716639"/>
                <a:gd name="connsiteY6" fmla="*/ 1136505 h 1369187"/>
                <a:gd name="connsiteX7" fmla="*/ 245792 w 716639"/>
                <a:gd name="connsiteY7" fmla="*/ 1089057 h 1369187"/>
                <a:gd name="connsiteX8" fmla="*/ 241932 w 716639"/>
                <a:gd name="connsiteY8" fmla="*/ 1032305 h 1369187"/>
                <a:gd name="connsiteX9" fmla="*/ 241932 w 716639"/>
                <a:gd name="connsiteY9" fmla="*/ 329200 h 1369187"/>
                <a:gd name="connsiteX10" fmla="*/ 244711 w 716639"/>
                <a:gd name="connsiteY10" fmla="*/ 281752 h 1369187"/>
                <a:gd name="connsiteX11" fmla="*/ 258532 w 716639"/>
                <a:gd name="connsiteY11" fmla="*/ 235424 h 1369187"/>
                <a:gd name="connsiteX12" fmla="*/ 291773 w 716639"/>
                <a:gd name="connsiteY12" fmla="*/ 200060 h 1369187"/>
                <a:gd name="connsiteX13" fmla="*/ 352695 w 716639"/>
                <a:gd name="connsiteY13" fmla="*/ 186123 h 1369187"/>
                <a:gd name="connsiteX14" fmla="*/ 415392 w 716639"/>
                <a:gd name="connsiteY14" fmla="*/ 196354 h 1369187"/>
                <a:gd name="connsiteX15" fmla="*/ 452300 w 716639"/>
                <a:gd name="connsiteY15" fmla="*/ 226120 h 1369187"/>
                <a:gd name="connsiteX16" fmla="*/ 469828 w 716639"/>
                <a:gd name="connsiteY16" fmla="*/ 274455 h 1369187"/>
                <a:gd name="connsiteX17" fmla="*/ 474460 w 716639"/>
                <a:gd name="connsiteY17" fmla="*/ 340511 h 1369187"/>
                <a:gd name="connsiteX18" fmla="*/ 474460 w 716639"/>
                <a:gd name="connsiteY18" fmla="*/ 490769 h 1369187"/>
                <a:gd name="connsiteX19" fmla="*/ 716292 w 716639"/>
                <a:gd name="connsiteY19" fmla="*/ 490769 h 1369187"/>
                <a:gd name="connsiteX20" fmla="*/ 716292 w 716639"/>
                <a:gd name="connsiteY20" fmla="*/ 304993 h 1369187"/>
                <a:gd name="connsiteX21" fmla="*/ 710694 w 716639"/>
                <a:gd name="connsiteY21" fmla="*/ 217587 h 1369187"/>
                <a:gd name="connsiteX22" fmla="*/ 671625 w 716639"/>
                <a:gd name="connsiteY22" fmla="*/ 117210 h 1369187"/>
                <a:gd name="connsiteX23" fmla="*/ 565610 w 716639"/>
                <a:gd name="connsiteY23" fmla="*/ 34437 h 1369187"/>
                <a:gd name="connsiteX24" fmla="*/ 359142 w 716639"/>
                <a:gd name="connsiteY24" fmla="*/ 0 h 1369187"/>
                <a:gd name="connsiteX25" fmla="*/ 305092 w 716639"/>
                <a:gd name="connsiteY25" fmla="*/ 1892 h 1369187"/>
                <a:gd name="connsiteX26" fmla="*/ 228844 w 716639"/>
                <a:gd name="connsiteY26" fmla="*/ 13976 h 1369187"/>
                <a:gd name="connsiteX27" fmla="*/ 144218 w 716639"/>
                <a:gd name="connsiteY27" fmla="*/ 44861 h 1369187"/>
                <a:gd name="connsiteX28" fmla="*/ 65151 w 716639"/>
                <a:gd name="connsiteY28" fmla="*/ 104393 h 1369187"/>
                <a:gd name="connsiteX29" fmla="*/ 10291 w 716639"/>
                <a:gd name="connsiteY29" fmla="*/ 210407 h 1369187"/>
                <a:gd name="connsiteX30" fmla="*/ 60 w 716639"/>
                <a:gd name="connsiteY30" fmla="*/ 348078 h 1369187"/>
                <a:gd name="connsiteX31" fmla="*/ 60 w 716639"/>
                <a:gd name="connsiteY31" fmla="*/ 1062303 h 1369187"/>
                <a:gd name="connsiteX32" fmla="*/ 1913 w 716639"/>
                <a:gd name="connsiteY32" fmla="*/ 1121834 h 1369187"/>
                <a:gd name="connsiteX33" fmla="*/ 13071 w 716639"/>
                <a:gd name="connsiteY33" fmla="*/ 1186037 h 1369187"/>
                <a:gd name="connsiteX34" fmla="*/ 43956 w 716639"/>
                <a:gd name="connsiteY34" fmla="*/ 1249275 h 1369187"/>
                <a:gd name="connsiteX35" fmla="*/ 104414 w 716639"/>
                <a:gd name="connsiteY35" fmla="*/ 1305988 h 1369187"/>
                <a:gd name="connsiteX36" fmla="*/ 234596 w 716639"/>
                <a:gd name="connsiteY36" fmla="*/ 1356177 h 1369187"/>
                <a:gd name="connsiteX37" fmla="*/ 359257 w 716639"/>
                <a:gd name="connsiteY37" fmla="*/ 1369187 h 1369187"/>
                <a:gd name="connsiteX38" fmla="*/ 565726 w 716639"/>
                <a:gd name="connsiteY38" fmla="*/ 1332009 h 1369187"/>
                <a:gd name="connsiteX39" fmla="*/ 671740 w 716639"/>
                <a:gd name="connsiteY39" fmla="*/ 1241785 h 1369187"/>
                <a:gd name="connsiteX40" fmla="*/ 711042 w 716639"/>
                <a:gd name="connsiteY40" fmla="*/ 1130907 h 1369187"/>
                <a:gd name="connsiteX41" fmla="*/ 716640 w 716639"/>
                <a:gd name="connsiteY41" fmla="*/ 1034197 h 1369187"/>
                <a:gd name="connsiteX42" fmla="*/ 716640 w 716639"/>
                <a:gd name="connsiteY42" fmla="*/ 848151 h 1369187"/>
                <a:gd name="connsiteX43" fmla="*/ 474808 w 716639"/>
                <a:gd name="connsiteY43" fmla="*/ 848151 h 136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6639" h="1369187">
                  <a:moveTo>
                    <a:pt x="474730" y="1019295"/>
                  </a:moveTo>
                  <a:cubicBezTo>
                    <a:pt x="474730" y="1039139"/>
                    <a:pt x="474074" y="1058674"/>
                    <a:pt x="472877" y="1077900"/>
                  </a:cubicBezTo>
                  <a:cubicBezTo>
                    <a:pt x="471934" y="1095822"/>
                    <a:pt x="467884" y="1113444"/>
                    <a:pt x="460909" y="1129980"/>
                  </a:cubicBezTo>
                  <a:cubicBezTo>
                    <a:pt x="454035" y="1145583"/>
                    <a:pt x="442400" y="1158611"/>
                    <a:pt x="427669" y="1167197"/>
                  </a:cubicBezTo>
                  <a:cubicBezTo>
                    <a:pt x="412226" y="1176514"/>
                    <a:pt x="390349" y="1181160"/>
                    <a:pt x="362037" y="1181134"/>
                  </a:cubicBezTo>
                  <a:cubicBezTo>
                    <a:pt x="334961" y="1181134"/>
                    <a:pt x="313431" y="1177106"/>
                    <a:pt x="297448" y="1169050"/>
                  </a:cubicBezTo>
                  <a:cubicBezTo>
                    <a:pt x="282529" y="1161955"/>
                    <a:pt x="270018" y="1150640"/>
                    <a:pt x="261467" y="1136505"/>
                  </a:cubicBezTo>
                  <a:cubicBezTo>
                    <a:pt x="253134" y="1121891"/>
                    <a:pt x="247805" y="1105759"/>
                    <a:pt x="245792" y="1089057"/>
                  </a:cubicBezTo>
                  <a:cubicBezTo>
                    <a:pt x="243213" y="1070250"/>
                    <a:pt x="241923" y="1051288"/>
                    <a:pt x="241932" y="1032305"/>
                  </a:cubicBezTo>
                  <a:lnTo>
                    <a:pt x="241932" y="329200"/>
                  </a:lnTo>
                  <a:cubicBezTo>
                    <a:pt x="241988" y="313345"/>
                    <a:pt x="242916" y="297505"/>
                    <a:pt x="244711" y="281752"/>
                  </a:cubicBezTo>
                  <a:cubicBezTo>
                    <a:pt x="246399" y="265585"/>
                    <a:pt x="251087" y="249874"/>
                    <a:pt x="258532" y="235424"/>
                  </a:cubicBezTo>
                  <a:cubicBezTo>
                    <a:pt x="266205" y="220843"/>
                    <a:pt x="277694" y="208620"/>
                    <a:pt x="291773" y="200060"/>
                  </a:cubicBezTo>
                  <a:cubicBezTo>
                    <a:pt x="306521" y="190743"/>
                    <a:pt x="326828" y="186097"/>
                    <a:pt x="352695" y="186123"/>
                  </a:cubicBezTo>
                  <a:cubicBezTo>
                    <a:pt x="378561" y="186149"/>
                    <a:pt x="399460" y="189559"/>
                    <a:pt x="415392" y="196354"/>
                  </a:cubicBezTo>
                  <a:cubicBezTo>
                    <a:pt x="430386" y="202376"/>
                    <a:pt x="443238" y="212741"/>
                    <a:pt x="452300" y="226120"/>
                  </a:cubicBezTo>
                  <a:cubicBezTo>
                    <a:pt x="461516" y="240800"/>
                    <a:pt x="467492" y="257279"/>
                    <a:pt x="469828" y="274455"/>
                  </a:cubicBezTo>
                  <a:cubicBezTo>
                    <a:pt x="473104" y="296318"/>
                    <a:pt x="474653" y="318405"/>
                    <a:pt x="474460" y="340511"/>
                  </a:cubicBezTo>
                  <a:lnTo>
                    <a:pt x="474460" y="490769"/>
                  </a:lnTo>
                  <a:lnTo>
                    <a:pt x="716292" y="490769"/>
                  </a:lnTo>
                  <a:lnTo>
                    <a:pt x="716292" y="304993"/>
                  </a:lnTo>
                  <a:cubicBezTo>
                    <a:pt x="715929" y="275781"/>
                    <a:pt x="714061" y="246607"/>
                    <a:pt x="710694" y="217587"/>
                  </a:cubicBezTo>
                  <a:cubicBezTo>
                    <a:pt x="706370" y="181363"/>
                    <a:pt x="692927" y="146827"/>
                    <a:pt x="671625" y="117210"/>
                  </a:cubicBezTo>
                  <a:cubicBezTo>
                    <a:pt x="649310" y="84986"/>
                    <a:pt x="613972" y="57395"/>
                    <a:pt x="565610" y="34437"/>
                  </a:cubicBezTo>
                  <a:cubicBezTo>
                    <a:pt x="517249" y="11479"/>
                    <a:pt x="448426" y="0"/>
                    <a:pt x="359142" y="0"/>
                  </a:cubicBezTo>
                  <a:cubicBezTo>
                    <a:pt x="346710" y="0"/>
                    <a:pt x="328694" y="631"/>
                    <a:pt x="305092" y="1892"/>
                  </a:cubicBezTo>
                  <a:cubicBezTo>
                    <a:pt x="279349" y="3481"/>
                    <a:pt x="253817" y="7527"/>
                    <a:pt x="228844" y="13976"/>
                  </a:cubicBezTo>
                  <a:cubicBezTo>
                    <a:pt x="199709" y="21530"/>
                    <a:pt x="171370" y="31873"/>
                    <a:pt x="144218" y="44861"/>
                  </a:cubicBezTo>
                  <a:cubicBezTo>
                    <a:pt x="114137" y="59202"/>
                    <a:pt x="87248" y="79447"/>
                    <a:pt x="65151" y="104393"/>
                  </a:cubicBezTo>
                  <a:cubicBezTo>
                    <a:pt x="35373" y="136642"/>
                    <a:pt x="17086" y="171980"/>
                    <a:pt x="10291" y="210407"/>
                  </a:cubicBezTo>
                  <a:cubicBezTo>
                    <a:pt x="2916" y="255916"/>
                    <a:pt x="-507" y="301978"/>
                    <a:pt x="60" y="348078"/>
                  </a:cubicBezTo>
                  <a:lnTo>
                    <a:pt x="60" y="1062303"/>
                  </a:lnTo>
                  <a:cubicBezTo>
                    <a:pt x="60" y="1080911"/>
                    <a:pt x="640" y="1100909"/>
                    <a:pt x="1913" y="1121834"/>
                  </a:cubicBezTo>
                  <a:cubicBezTo>
                    <a:pt x="3234" y="1143583"/>
                    <a:pt x="6975" y="1165118"/>
                    <a:pt x="13071" y="1186037"/>
                  </a:cubicBezTo>
                  <a:cubicBezTo>
                    <a:pt x="19764" y="1208693"/>
                    <a:pt x="30204" y="1230067"/>
                    <a:pt x="43956" y="1249275"/>
                  </a:cubicBezTo>
                  <a:cubicBezTo>
                    <a:pt x="60374" y="1271804"/>
                    <a:pt x="80883" y="1291043"/>
                    <a:pt x="104414" y="1305988"/>
                  </a:cubicBezTo>
                  <a:cubicBezTo>
                    <a:pt x="144022" y="1331242"/>
                    <a:pt x="188287" y="1348307"/>
                    <a:pt x="234596" y="1356177"/>
                  </a:cubicBezTo>
                  <a:cubicBezTo>
                    <a:pt x="275696" y="1364106"/>
                    <a:pt x="317406" y="1368459"/>
                    <a:pt x="359257" y="1369187"/>
                  </a:cubicBezTo>
                  <a:cubicBezTo>
                    <a:pt x="448516" y="1369187"/>
                    <a:pt x="517339" y="1356795"/>
                    <a:pt x="565726" y="1332009"/>
                  </a:cubicBezTo>
                  <a:cubicBezTo>
                    <a:pt x="614113" y="1307224"/>
                    <a:pt x="649451" y="1277149"/>
                    <a:pt x="671740" y="1241785"/>
                  </a:cubicBezTo>
                  <a:cubicBezTo>
                    <a:pt x="693452" y="1208467"/>
                    <a:pt x="706923" y="1170461"/>
                    <a:pt x="711042" y="1130907"/>
                  </a:cubicBezTo>
                  <a:cubicBezTo>
                    <a:pt x="714748" y="1092480"/>
                    <a:pt x="716614" y="1060243"/>
                    <a:pt x="716640" y="1034197"/>
                  </a:cubicBezTo>
                  <a:lnTo>
                    <a:pt x="716640" y="848151"/>
                  </a:lnTo>
                  <a:lnTo>
                    <a:pt x="474808" y="848151"/>
                  </a:lnTo>
                  <a:close/>
                </a:path>
              </a:pathLst>
            </a:custGeom>
            <a:grpFill/>
            <a:ln w="3861" cap="flat">
              <a:noFill/>
              <a:prstDash val="solid"/>
              <a:miter/>
            </a:ln>
          </p:spPr>
          <p:txBody>
            <a:bodyPr rtlCol="0" anchor="ctr"/>
            <a:lstStyle/>
            <a:p>
              <a:endParaRPr lang="en-US"/>
            </a:p>
          </p:txBody>
        </p:sp>
        <p:sp>
          <p:nvSpPr>
            <p:cNvPr id="36" name="5. Caldic_I">
              <a:extLst>
                <a:ext uri="{FF2B5EF4-FFF2-40B4-BE49-F238E27FC236}">
                  <a16:creationId xmlns:a16="http://schemas.microsoft.com/office/drawing/2014/main" id="{C87C920B-5383-A166-2DB9-6C99A7F13A9B}"/>
                </a:ext>
              </a:extLst>
            </p:cNvPr>
            <p:cNvSpPr/>
            <p:nvPr userDrawn="1"/>
          </p:nvSpPr>
          <p:spPr>
            <a:xfrm>
              <a:off x="7011987" y="2914897"/>
              <a:ext cx="190877" cy="1035874"/>
            </a:xfrm>
            <a:custGeom>
              <a:avLst/>
              <a:gdLst>
                <a:gd name="connsiteX0" fmla="*/ 0 w 241987"/>
                <a:gd name="connsiteY0" fmla="*/ 0 h 1313246"/>
                <a:gd name="connsiteX1" fmla="*/ 241987 w 241987"/>
                <a:gd name="connsiteY1" fmla="*/ 0 h 1313246"/>
                <a:gd name="connsiteX2" fmla="*/ 241987 w 241987"/>
                <a:gd name="connsiteY2" fmla="*/ 1313246 h 1313246"/>
                <a:gd name="connsiteX3" fmla="*/ 193 w 241987"/>
                <a:gd name="connsiteY3" fmla="*/ 1313246 h 1313246"/>
              </a:gdLst>
              <a:ahLst/>
              <a:cxnLst>
                <a:cxn ang="0">
                  <a:pos x="connsiteX0" y="connsiteY0"/>
                </a:cxn>
                <a:cxn ang="0">
                  <a:pos x="connsiteX1" y="connsiteY1"/>
                </a:cxn>
                <a:cxn ang="0">
                  <a:pos x="connsiteX2" y="connsiteY2"/>
                </a:cxn>
                <a:cxn ang="0">
                  <a:pos x="connsiteX3" y="connsiteY3"/>
                </a:cxn>
              </a:cxnLst>
              <a:rect l="l" t="t" r="r" b="b"/>
              <a:pathLst>
                <a:path w="241987" h="1313246">
                  <a:moveTo>
                    <a:pt x="0" y="0"/>
                  </a:moveTo>
                  <a:lnTo>
                    <a:pt x="241987" y="0"/>
                  </a:lnTo>
                  <a:lnTo>
                    <a:pt x="241987" y="1313246"/>
                  </a:lnTo>
                  <a:lnTo>
                    <a:pt x="193" y="1313246"/>
                  </a:lnTo>
                  <a:close/>
                </a:path>
              </a:pathLst>
            </a:custGeom>
            <a:grpFill/>
            <a:ln w="3861" cap="flat">
              <a:noFill/>
              <a:prstDash val="solid"/>
              <a:miter/>
            </a:ln>
          </p:spPr>
          <p:txBody>
            <a:bodyPr rtlCol="0" anchor="ctr"/>
            <a:lstStyle/>
            <a:p>
              <a:endParaRPr lang="en-US"/>
            </a:p>
          </p:txBody>
        </p:sp>
        <p:sp>
          <p:nvSpPr>
            <p:cNvPr id="37" name="4. Caldic_D">
              <a:extLst>
                <a:ext uri="{FF2B5EF4-FFF2-40B4-BE49-F238E27FC236}">
                  <a16:creationId xmlns:a16="http://schemas.microsoft.com/office/drawing/2014/main" id="{14564D3B-08FA-1E6D-1853-770B517EC8A4}"/>
                </a:ext>
              </a:extLst>
            </p:cNvPr>
            <p:cNvSpPr/>
            <p:nvPr userDrawn="1"/>
          </p:nvSpPr>
          <p:spPr>
            <a:xfrm>
              <a:off x="6275918" y="2914897"/>
              <a:ext cx="569294" cy="1035874"/>
            </a:xfrm>
            <a:custGeom>
              <a:avLst/>
              <a:gdLst>
                <a:gd name="connsiteX0" fmla="*/ 0 w 721731"/>
                <a:gd name="connsiteY0" fmla="*/ 0 h 1313246"/>
                <a:gd name="connsiteX1" fmla="*/ 390623 w 721731"/>
                <a:gd name="connsiteY1" fmla="*/ 0 h 1313246"/>
                <a:gd name="connsiteX2" fmla="*/ 452007 w 721731"/>
                <a:gd name="connsiteY2" fmla="*/ 927 h 1313246"/>
                <a:gd name="connsiteX3" fmla="*/ 516172 w 721731"/>
                <a:gd name="connsiteY3" fmla="*/ 10231 h 1313246"/>
                <a:gd name="connsiteX4" fmla="*/ 581262 w 721731"/>
                <a:gd name="connsiteY4" fmla="*/ 35325 h 1313246"/>
                <a:gd name="connsiteX5" fmla="*/ 643574 w 721731"/>
                <a:gd name="connsiteY5" fmla="*/ 81846 h 1313246"/>
                <a:gd name="connsiteX6" fmla="*/ 708704 w 721731"/>
                <a:gd name="connsiteY6" fmla="*/ 201836 h 1313246"/>
                <a:gd name="connsiteX7" fmla="*/ 721714 w 721731"/>
                <a:gd name="connsiteY7" fmla="*/ 345955 h 1313246"/>
                <a:gd name="connsiteX8" fmla="*/ 721714 w 721731"/>
                <a:gd name="connsiteY8" fmla="*/ 959802 h 1313246"/>
                <a:gd name="connsiteX9" fmla="*/ 712410 w 721731"/>
                <a:gd name="connsiteY9" fmla="*/ 1091875 h 1313246"/>
                <a:gd name="connsiteX10" fmla="*/ 669634 w 721731"/>
                <a:gd name="connsiteY10" fmla="*/ 1204414 h 1313246"/>
                <a:gd name="connsiteX11" fmla="*/ 569256 w 721731"/>
                <a:gd name="connsiteY11" fmla="*/ 1283480 h 1313246"/>
                <a:gd name="connsiteX12" fmla="*/ 388847 w 721731"/>
                <a:gd name="connsiteY12" fmla="*/ 1313246 h 1313246"/>
                <a:gd name="connsiteX13" fmla="*/ 77 w 721731"/>
                <a:gd name="connsiteY13" fmla="*/ 1313246 h 1313246"/>
                <a:gd name="connsiteX14" fmla="*/ 241794 w 721731"/>
                <a:gd name="connsiteY14" fmla="*/ 1121641 h 1313246"/>
                <a:gd name="connsiteX15" fmla="*/ 351592 w 721731"/>
                <a:gd name="connsiteY15" fmla="*/ 1121641 h 1313246"/>
                <a:gd name="connsiteX16" fmla="*/ 376531 w 721731"/>
                <a:gd name="connsiteY16" fmla="*/ 1120714 h 1313246"/>
                <a:gd name="connsiteX17" fmla="*/ 393132 w 721731"/>
                <a:gd name="connsiteY17" fmla="*/ 1117935 h 1313246"/>
                <a:gd name="connsiteX18" fmla="*/ 443900 w 721731"/>
                <a:gd name="connsiteY18" fmla="*/ 1097473 h 1313246"/>
                <a:gd name="connsiteX19" fmla="*/ 469728 w 721731"/>
                <a:gd name="connsiteY19" fmla="*/ 1062110 h 1313246"/>
                <a:gd name="connsiteX20" fmla="*/ 478955 w 721731"/>
                <a:gd name="connsiteY20" fmla="*/ 1020260 h 1313246"/>
                <a:gd name="connsiteX21" fmla="*/ 479882 w 721731"/>
                <a:gd name="connsiteY21" fmla="*/ 980263 h 1313246"/>
                <a:gd name="connsiteX22" fmla="*/ 479882 w 721731"/>
                <a:gd name="connsiteY22" fmla="*/ 325455 h 1313246"/>
                <a:gd name="connsiteX23" fmla="*/ 472508 w 721731"/>
                <a:gd name="connsiteY23" fmla="*/ 254766 h 1313246"/>
                <a:gd name="connsiteX24" fmla="*/ 447568 w 721731"/>
                <a:gd name="connsiteY24" fmla="*/ 214769 h 1313246"/>
                <a:gd name="connsiteX25" fmla="*/ 402360 w 721731"/>
                <a:gd name="connsiteY25" fmla="*/ 196161 h 1313246"/>
                <a:gd name="connsiteX26" fmla="*/ 335956 w 721731"/>
                <a:gd name="connsiteY26" fmla="*/ 191528 h 1313246"/>
                <a:gd name="connsiteX27" fmla="*/ 241794 w 721731"/>
                <a:gd name="connsiteY27" fmla="*/ 191528 h 131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21731" h="1313246">
                  <a:moveTo>
                    <a:pt x="0" y="0"/>
                  </a:moveTo>
                  <a:lnTo>
                    <a:pt x="390623" y="0"/>
                  </a:lnTo>
                  <a:cubicBezTo>
                    <a:pt x="410441" y="0"/>
                    <a:pt x="430903" y="309"/>
                    <a:pt x="452007" y="927"/>
                  </a:cubicBezTo>
                  <a:cubicBezTo>
                    <a:pt x="473674" y="1642"/>
                    <a:pt x="495194" y="4762"/>
                    <a:pt x="516172" y="10231"/>
                  </a:cubicBezTo>
                  <a:cubicBezTo>
                    <a:pt x="538740" y="16131"/>
                    <a:pt x="560574" y="24549"/>
                    <a:pt x="581262" y="35325"/>
                  </a:cubicBezTo>
                  <a:cubicBezTo>
                    <a:pt x="604324" y="47500"/>
                    <a:pt x="625347" y="63196"/>
                    <a:pt x="643574" y="81846"/>
                  </a:cubicBezTo>
                  <a:cubicBezTo>
                    <a:pt x="678294" y="117879"/>
                    <a:pt x="700004" y="157876"/>
                    <a:pt x="708704" y="201836"/>
                  </a:cubicBezTo>
                  <a:cubicBezTo>
                    <a:pt x="717685" y="249343"/>
                    <a:pt x="722043" y="297608"/>
                    <a:pt x="721714" y="345955"/>
                  </a:cubicBezTo>
                  <a:lnTo>
                    <a:pt x="721714" y="959802"/>
                  </a:lnTo>
                  <a:cubicBezTo>
                    <a:pt x="721823" y="1003994"/>
                    <a:pt x="718713" y="1048135"/>
                    <a:pt x="712410" y="1091875"/>
                  </a:cubicBezTo>
                  <a:cubicBezTo>
                    <a:pt x="706919" y="1132159"/>
                    <a:pt x="692287" y="1170654"/>
                    <a:pt x="669634" y="1204414"/>
                  </a:cubicBezTo>
                  <a:cubicBezTo>
                    <a:pt x="647319" y="1237255"/>
                    <a:pt x="613859" y="1263611"/>
                    <a:pt x="569256" y="1283480"/>
                  </a:cubicBezTo>
                  <a:cubicBezTo>
                    <a:pt x="524653" y="1303350"/>
                    <a:pt x="464516" y="1313272"/>
                    <a:pt x="388847" y="1313246"/>
                  </a:cubicBezTo>
                  <a:lnTo>
                    <a:pt x="77" y="1313246"/>
                  </a:lnTo>
                  <a:close/>
                  <a:moveTo>
                    <a:pt x="241794" y="1121641"/>
                  </a:moveTo>
                  <a:lnTo>
                    <a:pt x="351592" y="1121641"/>
                  </a:lnTo>
                  <a:cubicBezTo>
                    <a:pt x="362067" y="1121641"/>
                    <a:pt x="370380" y="1121332"/>
                    <a:pt x="376531" y="1120714"/>
                  </a:cubicBezTo>
                  <a:cubicBezTo>
                    <a:pt x="382124" y="1120188"/>
                    <a:pt x="387673" y="1119259"/>
                    <a:pt x="393132" y="1117935"/>
                  </a:cubicBezTo>
                  <a:cubicBezTo>
                    <a:pt x="415293" y="1114203"/>
                    <a:pt x="432215" y="1107382"/>
                    <a:pt x="443900" y="1097473"/>
                  </a:cubicBezTo>
                  <a:cubicBezTo>
                    <a:pt x="455274" y="1087977"/>
                    <a:pt x="464142" y="1075833"/>
                    <a:pt x="469728" y="1062110"/>
                  </a:cubicBezTo>
                  <a:cubicBezTo>
                    <a:pt x="475187" y="1048794"/>
                    <a:pt x="478309" y="1034636"/>
                    <a:pt x="478955" y="1020260"/>
                  </a:cubicBezTo>
                  <a:cubicBezTo>
                    <a:pt x="479572" y="1006001"/>
                    <a:pt x="479882" y="992669"/>
                    <a:pt x="479882" y="980263"/>
                  </a:cubicBezTo>
                  <a:lnTo>
                    <a:pt x="479882" y="325455"/>
                  </a:lnTo>
                  <a:cubicBezTo>
                    <a:pt x="479882" y="295676"/>
                    <a:pt x="477423" y="272113"/>
                    <a:pt x="472508" y="254766"/>
                  </a:cubicBezTo>
                  <a:cubicBezTo>
                    <a:pt x="468662" y="239119"/>
                    <a:pt x="459925" y="225108"/>
                    <a:pt x="447568" y="214769"/>
                  </a:cubicBezTo>
                  <a:cubicBezTo>
                    <a:pt x="434330" y="204817"/>
                    <a:pt x="418768" y="198411"/>
                    <a:pt x="402360" y="196161"/>
                  </a:cubicBezTo>
                  <a:cubicBezTo>
                    <a:pt x="380387" y="192816"/>
                    <a:pt x="358180" y="191266"/>
                    <a:pt x="335956" y="191528"/>
                  </a:cubicBezTo>
                  <a:lnTo>
                    <a:pt x="241794" y="191528"/>
                  </a:lnTo>
                  <a:close/>
                </a:path>
              </a:pathLst>
            </a:custGeom>
            <a:grpFill/>
            <a:ln w="3861" cap="flat">
              <a:noFill/>
              <a:prstDash val="solid"/>
              <a:miter/>
            </a:ln>
          </p:spPr>
          <p:txBody>
            <a:bodyPr rtlCol="0" anchor="ctr"/>
            <a:lstStyle/>
            <a:p>
              <a:endParaRPr lang="en-US"/>
            </a:p>
          </p:txBody>
        </p:sp>
        <p:sp>
          <p:nvSpPr>
            <p:cNvPr id="38" name="3. Caldic_L">
              <a:extLst>
                <a:ext uri="{FF2B5EF4-FFF2-40B4-BE49-F238E27FC236}">
                  <a16:creationId xmlns:a16="http://schemas.microsoft.com/office/drawing/2014/main" id="{74443EB6-4DA7-C5D7-02DE-79D2EEA64491}"/>
                </a:ext>
              </a:extLst>
            </p:cNvPr>
            <p:cNvSpPr/>
            <p:nvPr userDrawn="1"/>
          </p:nvSpPr>
          <p:spPr>
            <a:xfrm>
              <a:off x="5759838" y="2914897"/>
              <a:ext cx="435319" cy="1035874"/>
            </a:xfrm>
            <a:custGeom>
              <a:avLst/>
              <a:gdLst>
                <a:gd name="connsiteX0" fmla="*/ 0 w 551882"/>
                <a:gd name="connsiteY0" fmla="*/ 0 h 1313246"/>
                <a:gd name="connsiteX1" fmla="*/ 241794 w 551882"/>
                <a:gd name="connsiteY1" fmla="*/ 0 h 1313246"/>
                <a:gd name="connsiteX2" fmla="*/ 241794 w 551882"/>
                <a:gd name="connsiteY2" fmla="*/ 1114190 h 1313246"/>
                <a:gd name="connsiteX3" fmla="*/ 551883 w 551882"/>
                <a:gd name="connsiteY3" fmla="*/ 1114190 h 1313246"/>
                <a:gd name="connsiteX4" fmla="*/ 551883 w 551882"/>
                <a:gd name="connsiteY4" fmla="*/ 1313246 h 1313246"/>
                <a:gd name="connsiteX5" fmla="*/ 0 w 551882"/>
                <a:gd name="connsiteY5" fmla="*/ 1313246 h 131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1882" h="1313246">
                  <a:moveTo>
                    <a:pt x="0" y="0"/>
                  </a:moveTo>
                  <a:lnTo>
                    <a:pt x="241794" y="0"/>
                  </a:lnTo>
                  <a:lnTo>
                    <a:pt x="241794" y="1114190"/>
                  </a:lnTo>
                  <a:lnTo>
                    <a:pt x="551883" y="1114190"/>
                  </a:lnTo>
                  <a:lnTo>
                    <a:pt x="551883" y="1313246"/>
                  </a:lnTo>
                  <a:lnTo>
                    <a:pt x="0" y="1313246"/>
                  </a:lnTo>
                  <a:close/>
                </a:path>
              </a:pathLst>
            </a:custGeom>
            <a:grpFill/>
            <a:ln w="3861" cap="flat">
              <a:noFill/>
              <a:prstDash val="solid"/>
              <a:miter/>
            </a:ln>
          </p:spPr>
          <p:txBody>
            <a:bodyPr rtlCol="0" anchor="ctr"/>
            <a:lstStyle/>
            <a:p>
              <a:endParaRPr lang="en-US"/>
            </a:p>
          </p:txBody>
        </p:sp>
        <p:sp>
          <p:nvSpPr>
            <p:cNvPr id="39" name="2. Caldic_A">
              <a:extLst>
                <a:ext uri="{FF2B5EF4-FFF2-40B4-BE49-F238E27FC236}">
                  <a16:creationId xmlns:a16="http://schemas.microsoft.com/office/drawing/2014/main" id="{5868A0C9-35E7-14C3-5532-3D25D16BC8C5}"/>
                </a:ext>
              </a:extLst>
            </p:cNvPr>
            <p:cNvSpPr/>
            <p:nvPr userDrawn="1"/>
          </p:nvSpPr>
          <p:spPr>
            <a:xfrm>
              <a:off x="5045299" y="2914897"/>
              <a:ext cx="613284" cy="1035874"/>
            </a:xfrm>
            <a:custGeom>
              <a:avLst/>
              <a:gdLst>
                <a:gd name="connsiteX0" fmla="*/ 254843 w 777500"/>
                <a:gd name="connsiteY0" fmla="*/ 0 h 1313246"/>
                <a:gd name="connsiteX1" fmla="*/ 532000 w 777500"/>
                <a:gd name="connsiteY1" fmla="*/ 0 h 1313246"/>
                <a:gd name="connsiteX2" fmla="*/ 777501 w 777500"/>
                <a:gd name="connsiteY2" fmla="*/ 1313246 h 1313246"/>
                <a:gd name="connsiteX3" fmla="*/ 537097 w 777500"/>
                <a:gd name="connsiteY3" fmla="*/ 1313246 h 1313246"/>
                <a:gd name="connsiteX4" fmla="*/ 505478 w 777500"/>
                <a:gd name="connsiteY4" fmla="*/ 1099326 h 1313246"/>
                <a:gd name="connsiteX5" fmla="*/ 272177 w 777500"/>
                <a:gd name="connsiteY5" fmla="*/ 1099326 h 1313246"/>
                <a:gd name="connsiteX6" fmla="*/ 236814 w 777500"/>
                <a:gd name="connsiteY6" fmla="*/ 1313246 h 1313246"/>
                <a:gd name="connsiteX7" fmla="*/ 0 w 777500"/>
                <a:gd name="connsiteY7" fmla="*/ 1313246 h 1313246"/>
                <a:gd name="connsiteX8" fmla="*/ 300283 w 777500"/>
                <a:gd name="connsiteY8" fmla="*/ 902509 h 1313246"/>
                <a:gd name="connsiteX9" fmla="*/ 480963 w 777500"/>
                <a:gd name="connsiteY9" fmla="*/ 902509 h 1313246"/>
                <a:gd name="connsiteX10" fmla="*/ 394329 w 777500"/>
                <a:gd name="connsiteY10" fmla="*/ 332944 h 131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500" h="1313246">
                  <a:moveTo>
                    <a:pt x="254843" y="0"/>
                  </a:moveTo>
                  <a:lnTo>
                    <a:pt x="532000" y="0"/>
                  </a:lnTo>
                  <a:lnTo>
                    <a:pt x="777501" y="1313246"/>
                  </a:lnTo>
                  <a:lnTo>
                    <a:pt x="537097" y="1313246"/>
                  </a:lnTo>
                  <a:lnTo>
                    <a:pt x="505478" y="1099326"/>
                  </a:lnTo>
                  <a:lnTo>
                    <a:pt x="272177" y="1099326"/>
                  </a:lnTo>
                  <a:lnTo>
                    <a:pt x="236814" y="1313246"/>
                  </a:lnTo>
                  <a:lnTo>
                    <a:pt x="0" y="1313246"/>
                  </a:lnTo>
                  <a:close/>
                  <a:moveTo>
                    <a:pt x="300283" y="902509"/>
                  </a:moveTo>
                  <a:lnTo>
                    <a:pt x="480963" y="902509"/>
                  </a:lnTo>
                  <a:lnTo>
                    <a:pt x="394329" y="332944"/>
                  </a:lnTo>
                  <a:close/>
                </a:path>
              </a:pathLst>
            </a:custGeom>
            <a:grpFill/>
            <a:ln w="3861" cap="flat">
              <a:noFill/>
              <a:prstDash val="solid"/>
              <a:miter/>
            </a:ln>
          </p:spPr>
          <p:txBody>
            <a:bodyPr rtlCol="0" anchor="ctr"/>
            <a:lstStyle/>
            <a:p>
              <a:endParaRPr lang="en-US"/>
            </a:p>
          </p:txBody>
        </p:sp>
        <p:sp>
          <p:nvSpPr>
            <p:cNvPr id="40" name="1. Caldic_C">
              <a:extLst>
                <a:ext uri="{FF2B5EF4-FFF2-40B4-BE49-F238E27FC236}">
                  <a16:creationId xmlns:a16="http://schemas.microsoft.com/office/drawing/2014/main" id="{0957003C-7F08-0AA8-D31F-691B15D75FA3}"/>
                </a:ext>
              </a:extLst>
            </p:cNvPr>
            <p:cNvSpPr/>
            <p:nvPr userDrawn="1"/>
          </p:nvSpPr>
          <p:spPr>
            <a:xfrm>
              <a:off x="4409889" y="2892910"/>
              <a:ext cx="564973" cy="1079787"/>
            </a:xfrm>
            <a:custGeom>
              <a:avLst/>
              <a:gdLst>
                <a:gd name="connsiteX0" fmla="*/ 474421 w 716253"/>
                <a:gd name="connsiteY0" fmla="*/ 1019295 h 1368917"/>
                <a:gd name="connsiteX1" fmla="*/ 472529 w 716253"/>
                <a:gd name="connsiteY1" fmla="*/ 1077900 h 1368917"/>
                <a:gd name="connsiteX2" fmla="*/ 460561 w 716253"/>
                <a:gd name="connsiteY2" fmla="*/ 1129980 h 1368917"/>
                <a:gd name="connsiteX3" fmla="*/ 427360 w 716253"/>
                <a:gd name="connsiteY3" fmla="*/ 1167197 h 1368917"/>
                <a:gd name="connsiteX4" fmla="*/ 361728 w 716253"/>
                <a:gd name="connsiteY4" fmla="*/ 1181134 h 1368917"/>
                <a:gd name="connsiteX5" fmla="*/ 297101 w 716253"/>
                <a:gd name="connsiteY5" fmla="*/ 1169050 h 1368917"/>
                <a:gd name="connsiteX6" fmla="*/ 261119 w 716253"/>
                <a:gd name="connsiteY6" fmla="*/ 1136505 h 1368917"/>
                <a:gd name="connsiteX7" fmla="*/ 245445 w 716253"/>
                <a:gd name="connsiteY7" fmla="*/ 1089057 h 1368917"/>
                <a:gd name="connsiteX8" fmla="*/ 241584 w 716253"/>
                <a:gd name="connsiteY8" fmla="*/ 1032305 h 1368917"/>
                <a:gd name="connsiteX9" fmla="*/ 241584 w 716253"/>
                <a:gd name="connsiteY9" fmla="*/ 329200 h 1368917"/>
                <a:gd name="connsiteX10" fmla="*/ 244325 w 716253"/>
                <a:gd name="connsiteY10" fmla="*/ 281752 h 1368917"/>
                <a:gd name="connsiteX11" fmla="*/ 258185 w 716253"/>
                <a:gd name="connsiteY11" fmla="*/ 235424 h 1368917"/>
                <a:gd name="connsiteX12" fmla="*/ 291387 w 716253"/>
                <a:gd name="connsiteY12" fmla="*/ 200060 h 1368917"/>
                <a:gd name="connsiteX13" fmla="*/ 352308 w 716253"/>
                <a:gd name="connsiteY13" fmla="*/ 186123 h 1368917"/>
                <a:gd name="connsiteX14" fmla="*/ 415044 w 716253"/>
                <a:gd name="connsiteY14" fmla="*/ 196354 h 1368917"/>
                <a:gd name="connsiteX15" fmla="*/ 452300 w 716253"/>
                <a:gd name="connsiteY15" fmla="*/ 225927 h 1368917"/>
                <a:gd name="connsiteX16" fmla="*/ 469827 w 716253"/>
                <a:gd name="connsiteY16" fmla="*/ 274262 h 1368917"/>
                <a:gd name="connsiteX17" fmla="*/ 474460 w 716253"/>
                <a:gd name="connsiteY17" fmla="*/ 340318 h 1368917"/>
                <a:gd name="connsiteX18" fmla="*/ 474460 w 716253"/>
                <a:gd name="connsiteY18" fmla="*/ 490576 h 1368917"/>
                <a:gd name="connsiteX19" fmla="*/ 716254 w 716253"/>
                <a:gd name="connsiteY19" fmla="*/ 490576 h 1368917"/>
                <a:gd name="connsiteX20" fmla="*/ 716254 w 716253"/>
                <a:gd name="connsiteY20" fmla="*/ 304993 h 1368917"/>
                <a:gd name="connsiteX21" fmla="*/ 710694 w 716253"/>
                <a:gd name="connsiteY21" fmla="*/ 217587 h 1368917"/>
                <a:gd name="connsiteX22" fmla="*/ 671624 w 716253"/>
                <a:gd name="connsiteY22" fmla="*/ 117210 h 1368917"/>
                <a:gd name="connsiteX23" fmla="*/ 565572 w 716253"/>
                <a:gd name="connsiteY23" fmla="*/ 34437 h 1368917"/>
                <a:gd name="connsiteX24" fmla="*/ 359103 w 716253"/>
                <a:gd name="connsiteY24" fmla="*/ 0 h 1368917"/>
                <a:gd name="connsiteX25" fmla="*/ 305054 w 716253"/>
                <a:gd name="connsiteY25" fmla="*/ 1892 h 1368917"/>
                <a:gd name="connsiteX26" fmla="*/ 228805 w 716253"/>
                <a:gd name="connsiteY26" fmla="*/ 13976 h 1368917"/>
                <a:gd name="connsiteX27" fmla="*/ 144141 w 716253"/>
                <a:gd name="connsiteY27" fmla="*/ 44861 h 1368917"/>
                <a:gd name="connsiteX28" fmla="*/ 65113 w 716253"/>
                <a:gd name="connsiteY28" fmla="*/ 104393 h 1368917"/>
                <a:gd name="connsiteX29" fmla="*/ 10291 w 716253"/>
                <a:gd name="connsiteY29" fmla="*/ 210136 h 1368917"/>
                <a:gd name="connsiteX30" fmla="*/ 60 w 716253"/>
                <a:gd name="connsiteY30" fmla="*/ 347808 h 1368917"/>
                <a:gd name="connsiteX31" fmla="*/ 60 w 716253"/>
                <a:gd name="connsiteY31" fmla="*/ 1062032 h 1368917"/>
                <a:gd name="connsiteX32" fmla="*/ 1914 w 716253"/>
                <a:gd name="connsiteY32" fmla="*/ 1121564 h 1368917"/>
                <a:gd name="connsiteX33" fmla="*/ 13071 w 716253"/>
                <a:gd name="connsiteY33" fmla="*/ 1185767 h 1368917"/>
                <a:gd name="connsiteX34" fmla="*/ 43764 w 716253"/>
                <a:gd name="connsiteY34" fmla="*/ 1249005 h 1368917"/>
                <a:gd name="connsiteX35" fmla="*/ 104222 w 716253"/>
                <a:gd name="connsiteY35" fmla="*/ 1305718 h 1368917"/>
                <a:gd name="connsiteX36" fmla="*/ 234442 w 716253"/>
                <a:gd name="connsiteY36" fmla="*/ 1355907 h 1368917"/>
                <a:gd name="connsiteX37" fmla="*/ 359065 w 716253"/>
                <a:gd name="connsiteY37" fmla="*/ 1368917 h 1368917"/>
                <a:gd name="connsiteX38" fmla="*/ 565533 w 716253"/>
                <a:gd name="connsiteY38" fmla="*/ 1331739 h 1368917"/>
                <a:gd name="connsiteX39" fmla="*/ 671586 w 716253"/>
                <a:gd name="connsiteY39" fmla="*/ 1241515 h 1368917"/>
                <a:gd name="connsiteX40" fmla="*/ 710656 w 716253"/>
                <a:gd name="connsiteY40" fmla="*/ 1130829 h 1368917"/>
                <a:gd name="connsiteX41" fmla="*/ 716215 w 716253"/>
                <a:gd name="connsiteY41" fmla="*/ 1034120 h 1368917"/>
                <a:gd name="connsiteX42" fmla="*/ 716215 w 716253"/>
                <a:gd name="connsiteY42" fmla="*/ 848151 h 1368917"/>
                <a:gd name="connsiteX43" fmla="*/ 474421 w 716253"/>
                <a:gd name="connsiteY43" fmla="*/ 848151 h 136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6253" h="1368917">
                  <a:moveTo>
                    <a:pt x="474421" y="1019295"/>
                  </a:moveTo>
                  <a:cubicBezTo>
                    <a:pt x="474421" y="1039139"/>
                    <a:pt x="473791" y="1058674"/>
                    <a:pt x="472529" y="1077900"/>
                  </a:cubicBezTo>
                  <a:cubicBezTo>
                    <a:pt x="471623" y="1095827"/>
                    <a:pt x="467572" y="1113455"/>
                    <a:pt x="460561" y="1129980"/>
                  </a:cubicBezTo>
                  <a:cubicBezTo>
                    <a:pt x="453716" y="1145589"/>
                    <a:pt x="442090" y="1158621"/>
                    <a:pt x="427360" y="1167197"/>
                  </a:cubicBezTo>
                  <a:cubicBezTo>
                    <a:pt x="411917" y="1176514"/>
                    <a:pt x="390040" y="1181160"/>
                    <a:pt x="361728" y="1181134"/>
                  </a:cubicBezTo>
                  <a:cubicBezTo>
                    <a:pt x="334626" y="1181134"/>
                    <a:pt x="313084" y="1177106"/>
                    <a:pt x="297101" y="1169050"/>
                  </a:cubicBezTo>
                  <a:cubicBezTo>
                    <a:pt x="282181" y="1161955"/>
                    <a:pt x="269671" y="1150640"/>
                    <a:pt x="261119" y="1136505"/>
                  </a:cubicBezTo>
                  <a:cubicBezTo>
                    <a:pt x="252803" y="1121883"/>
                    <a:pt x="247475" y="1105755"/>
                    <a:pt x="245445" y="1089057"/>
                  </a:cubicBezTo>
                  <a:cubicBezTo>
                    <a:pt x="242866" y="1070250"/>
                    <a:pt x="241576" y="1051288"/>
                    <a:pt x="241584" y="1032305"/>
                  </a:cubicBezTo>
                  <a:lnTo>
                    <a:pt x="241584" y="329200"/>
                  </a:lnTo>
                  <a:cubicBezTo>
                    <a:pt x="241626" y="313345"/>
                    <a:pt x="242541" y="297505"/>
                    <a:pt x="244325" y="281752"/>
                  </a:cubicBezTo>
                  <a:cubicBezTo>
                    <a:pt x="246027" y="265582"/>
                    <a:pt x="250727" y="249871"/>
                    <a:pt x="258185" y="235424"/>
                  </a:cubicBezTo>
                  <a:cubicBezTo>
                    <a:pt x="265855" y="220853"/>
                    <a:pt x="277329" y="208633"/>
                    <a:pt x="291387" y="200060"/>
                  </a:cubicBezTo>
                  <a:cubicBezTo>
                    <a:pt x="306186" y="190743"/>
                    <a:pt x="326493" y="186097"/>
                    <a:pt x="352308" y="186123"/>
                  </a:cubicBezTo>
                  <a:cubicBezTo>
                    <a:pt x="378123" y="186149"/>
                    <a:pt x="399035" y="189559"/>
                    <a:pt x="415044" y="196354"/>
                  </a:cubicBezTo>
                  <a:cubicBezTo>
                    <a:pt x="430140" y="202265"/>
                    <a:pt x="443117" y="212566"/>
                    <a:pt x="452300" y="225927"/>
                  </a:cubicBezTo>
                  <a:cubicBezTo>
                    <a:pt x="461516" y="240607"/>
                    <a:pt x="467492" y="257086"/>
                    <a:pt x="469827" y="274262"/>
                  </a:cubicBezTo>
                  <a:cubicBezTo>
                    <a:pt x="473104" y="296125"/>
                    <a:pt x="474653" y="318212"/>
                    <a:pt x="474460" y="340318"/>
                  </a:cubicBezTo>
                  <a:lnTo>
                    <a:pt x="474460" y="490576"/>
                  </a:lnTo>
                  <a:lnTo>
                    <a:pt x="716254" y="490576"/>
                  </a:lnTo>
                  <a:lnTo>
                    <a:pt x="716254" y="304993"/>
                  </a:lnTo>
                  <a:cubicBezTo>
                    <a:pt x="715906" y="275782"/>
                    <a:pt x="714050" y="246608"/>
                    <a:pt x="710694" y="217587"/>
                  </a:cubicBezTo>
                  <a:cubicBezTo>
                    <a:pt x="706348" y="181368"/>
                    <a:pt x="692908" y="146837"/>
                    <a:pt x="671624" y="117210"/>
                  </a:cubicBezTo>
                  <a:cubicBezTo>
                    <a:pt x="649310" y="84986"/>
                    <a:pt x="613959" y="57395"/>
                    <a:pt x="565572" y="34437"/>
                  </a:cubicBezTo>
                  <a:cubicBezTo>
                    <a:pt x="517185" y="11479"/>
                    <a:pt x="448362" y="0"/>
                    <a:pt x="359103" y="0"/>
                  </a:cubicBezTo>
                  <a:cubicBezTo>
                    <a:pt x="346697" y="0"/>
                    <a:pt x="328681" y="631"/>
                    <a:pt x="305054" y="1892"/>
                  </a:cubicBezTo>
                  <a:cubicBezTo>
                    <a:pt x="279310" y="3478"/>
                    <a:pt x="253778" y="7524"/>
                    <a:pt x="228805" y="13976"/>
                  </a:cubicBezTo>
                  <a:cubicBezTo>
                    <a:pt x="199660" y="21536"/>
                    <a:pt x="171308" y="31879"/>
                    <a:pt x="144141" y="44861"/>
                  </a:cubicBezTo>
                  <a:cubicBezTo>
                    <a:pt x="114065" y="59193"/>
                    <a:pt x="87187" y="79440"/>
                    <a:pt x="65113" y="104393"/>
                  </a:cubicBezTo>
                  <a:cubicBezTo>
                    <a:pt x="35411" y="136513"/>
                    <a:pt x="17138" y="171761"/>
                    <a:pt x="10291" y="210136"/>
                  </a:cubicBezTo>
                  <a:cubicBezTo>
                    <a:pt x="2916" y="255646"/>
                    <a:pt x="-507" y="301708"/>
                    <a:pt x="60" y="347808"/>
                  </a:cubicBezTo>
                  <a:lnTo>
                    <a:pt x="60" y="1062032"/>
                  </a:lnTo>
                  <a:cubicBezTo>
                    <a:pt x="60" y="1080641"/>
                    <a:pt x="678" y="1100485"/>
                    <a:pt x="1914" y="1121564"/>
                  </a:cubicBezTo>
                  <a:cubicBezTo>
                    <a:pt x="3253" y="1143311"/>
                    <a:pt x="6995" y="1164843"/>
                    <a:pt x="13071" y="1185767"/>
                  </a:cubicBezTo>
                  <a:cubicBezTo>
                    <a:pt x="19737" y="1208397"/>
                    <a:pt x="30108" y="1229766"/>
                    <a:pt x="43764" y="1249005"/>
                  </a:cubicBezTo>
                  <a:cubicBezTo>
                    <a:pt x="60191" y="1271525"/>
                    <a:pt x="80699" y="1290762"/>
                    <a:pt x="104222" y="1305718"/>
                  </a:cubicBezTo>
                  <a:cubicBezTo>
                    <a:pt x="143843" y="1330971"/>
                    <a:pt x="188120" y="1348036"/>
                    <a:pt x="234442" y="1355907"/>
                  </a:cubicBezTo>
                  <a:cubicBezTo>
                    <a:pt x="275529" y="1363834"/>
                    <a:pt x="317226" y="1368187"/>
                    <a:pt x="359065" y="1368917"/>
                  </a:cubicBezTo>
                  <a:cubicBezTo>
                    <a:pt x="448375" y="1368917"/>
                    <a:pt x="517197" y="1356524"/>
                    <a:pt x="565533" y="1331739"/>
                  </a:cubicBezTo>
                  <a:cubicBezTo>
                    <a:pt x="613869" y="1306953"/>
                    <a:pt x="649220" y="1276879"/>
                    <a:pt x="671586" y="1241515"/>
                  </a:cubicBezTo>
                  <a:cubicBezTo>
                    <a:pt x="693176" y="1208227"/>
                    <a:pt x="706566" y="1170294"/>
                    <a:pt x="710656" y="1130829"/>
                  </a:cubicBezTo>
                  <a:cubicBezTo>
                    <a:pt x="714362" y="1092403"/>
                    <a:pt x="716215" y="1060166"/>
                    <a:pt x="716215" y="1034120"/>
                  </a:cubicBezTo>
                  <a:lnTo>
                    <a:pt x="716215" y="848151"/>
                  </a:lnTo>
                  <a:lnTo>
                    <a:pt x="474421" y="848151"/>
                  </a:lnTo>
                  <a:close/>
                </a:path>
              </a:pathLst>
            </a:custGeom>
            <a:grpFill/>
            <a:ln w="3861" cap="flat">
              <a:noFill/>
              <a:prstDash val="solid"/>
              <a:miter/>
            </a:ln>
          </p:spPr>
          <p:txBody>
            <a:bodyPr rtlCol="0" anchor="ctr"/>
            <a:lstStyle/>
            <a:p>
              <a:endParaRPr lang="en-US"/>
            </a:p>
          </p:txBody>
        </p:sp>
      </p:grpSp>
      <p:grpSp>
        <p:nvGrpSpPr>
          <p:cNvPr id="130" name="Tagline_N">
            <a:extLst>
              <a:ext uri="{FF2B5EF4-FFF2-40B4-BE49-F238E27FC236}">
                <a16:creationId xmlns:a16="http://schemas.microsoft.com/office/drawing/2014/main" id="{327E0100-C9B4-1A80-0E5E-3B20E8BFA581}"/>
              </a:ext>
            </a:extLst>
          </p:cNvPr>
          <p:cNvGrpSpPr/>
          <p:nvPr userDrawn="1"/>
        </p:nvGrpSpPr>
        <p:grpSpPr>
          <a:xfrm>
            <a:off x="12389552" y="3640878"/>
            <a:ext cx="3758524" cy="311379"/>
            <a:chOff x="7093317" y="7149858"/>
            <a:chExt cx="4764927" cy="394755"/>
          </a:xfrm>
          <a:solidFill>
            <a:schemeClr val="tx2"/>
          </a:solidFill>
        </p:grpSpPr>
        <p:sp>
          <p:nvSpPr>
            <p:cNvPr id="131" name="Freeform: Shape 130">
              <a:extLst>
                <a:ext uri="{FF2B5EF4-FFF2-40B4-BE49-F238E27FC236}">
                  <a16:creationId xmlns:a16="http://schemas.microsoft.com/office/drawing/2014/main" id="{06DCC5EA-BDA2-D103-50B5-590A3B8BDC2B}"/>
                </a:ext>
              </a:extLst>
            </p:cNvPr>
            <p:cNvSpPr/>
            <p:nvPr/>
          </p:nvSpPr>
          <p:spPr>
            <a:xfrm>
              <a:off x="7093317" y="7149858"/>
              <a:ext cx="278943" cy="391019"/>
            </a:xfrm>
            <a:custGeom>
              <a:avLst/>
              <a:gdLst>
                <a:gd name="connsiteX0" fmla="*/ 189144 w 278943"/>
                <a:gd name="connsiteY0" fmla="*/ 390936 h 391019"/>
                <a:gd name="connsiteX1" fmla="*/ 13407 w 278943"/>
                <a:gd name="connsiteY1" fmla="*/ 390936 h 391019"/>
                <a:gd name="connsiteX2" fmla="*/ 83 w 278943"/>
                <a:gd name="connsiteY2" fmla="*/ 380410 h 391019"/>
                <a:gd name="connsiteX3" fmla="*/ 87 w 278943"/>
                <a:gd name="connsiteY3" fmla="*/ 377578 h 391019"/>
                <a:gd name="connsiteX4" fmla="*/ 87 w 278943"/>
                <a:gd name="connsiteY4" fmla="*/ 13440 h 391019"/>
                <a:gd name="connsiteX5" fmla="*/ 10575 w 278943"/>
                <a:gd name="connsiteY5" fmla="*/ 86 h 391019"/>
                <a:gd name="connsiteX6" fmla="*/ 13406 w 278943"/>
                <a:gd name="connsiteY6" fmla="*/ 82 h 391019"/>
                <a:gd name="connsiteX7" fmla="*/ 175555 w 278943"/>
                <a:gd name="connsiteY7" fmla="*/ 82 h 391019"/>
                <a:gd name="connsiteX8" fmla="*/ 226593 w 278943"/>
                <a:gd name="connsiteY8" fmla="*/ 18652 h 391019"/>
                <a:gd name="connsiteX9" fmla="*/ 245356 w 278943"/>
                <a:gd name="connsiteY9" fmla="*/ 37414 h 391019"/>
                <a:gd name="connsiteX10" fmla="*/ 265161 w 278943"/>
                <a:gd name="connsiteY10" fmla="*/ 89109 h 391019"/>
                <a:gd name="connsiteX11" fmla="*/ 265161 w 278943"/>
                <a:gd name="connsiteY11" fmla="*/ 124125 h 391019"/>
                <a:gd name="connsiteX12" fmla="*/ 245356 w 278943"/>
                <a:gd name="connsiteY12" fmla="*/ 176437 h 391019"/>
                <a:gd name="connsiteX13" fmla="*/ 233272 w 278943"/>
                <a:gd name="connsiteY13" fmla="*/ 188560 h 391019"/>
                <a:gd name="connsiteX14" fmla="*/ 259138 w 278943"/>
                <a:gd name="connsiteY14" fmla="*/ 214426 h 391019"/>
                <a:gd name="connsiteX15" fmla="*/ 278943 w 278943"/>
                <a:gd name="connsiteY15" fmla="*/ 266738 h 391019"/>
                <a:gd name="connsiteX16" fmla="*/ 278943 w 278943"/>
                <a:gd name="connsiteY16" fmla="*/ 301755 h 391019"/>
                <a:gd name="connsiteX17" fmla="*/ 259138 w 278943"/>
                <a:gd name="connsiteY17" fmla="*/ 353449 h 391019"/>
                <a:gd name="connsiteX18" fmla="*/ 240375 w 278943"/>
                <a:gd name="connsiteY18" fmla="*/ 372212 h 391019"/>
                <a:gd name="connsiteX19" fmla="*/ 189144 w 278943"/>
                <a:gd name="connsiteY19" fmla="*/ 390936 h 391019"/>
                <a:gd name="connsiteX20" fmla="*/ 48616 w 278943"/>
                <a:gd name="connsiteY20" fmla="*/ 349859 h 391019"/>
                <a:gd name="connsiteX21" fmla="*/ 181037 w 278943"/>
                <a:gd name="connsiteY21" fmla="*/ 349859 h 391019"/>
                <a:gd name="connsiteX22" fmla="*/ 201267 w 278943"/>
                <a:gd name="connsiteY22" fmla="*/ 341558 h 391019"/>
                <a:gd name="connsiteX23" fmla="*/ 220570 w 278943"/>
                <a:gd name="connsiteY23" fmla="*/ 322255 h 391019"/>
                <a:gd name="connsiteX24" fmla="*/ 230144 w 278943"/>
                <a:gd name="connsiteY24" fmla="*/ 302025 h 391019"/>
                <a:gd name="connsiteX25" fmla="*/ 230144 w 278943"/>
                <a:gd name="connsiteY25" fmla="*/ 261256 h 391019"/>
                <a:gd name="connsiteX26" fmla="*/ 220570 w 278943"/>
                <a:gd name="connsiteY26" fmla="*/ 240409 h 391019"/>
                <a:gd name="connsiteX27" fmla="*/ 201807 w 278943"/>
                <a:gd name="connsiteY27" fmla="*/ 221646 h 391019"/>
                <a:gd name="connsiteX28" fmla="*/ 179685 w 278943"/>
                <a:gd name="connsiteY28" fmla="*/ 213307 h 391019"/>
                <a:gd name="connsiteX29" fmla="*/ 48423 w 278943"/>
                <a:gd name="connsiteY29" fmla="*/ 213307 h 391019"/>
                <a:gd name="connsiteX30" fmla="*/ 48616 w 278943"/>
                <a:gd name="connsiteY30" fmla="*/ 174121 h 391019"/>
                <a:gd name="connsiteX31" fmla="*/ 174126 w 278943"/>
                <a:gd name="connsiteY31" fmla="*/ 174121 h 391019"/>
                <a:gd name="connsiteX32" fmla="*/ 194395 w 278943"/>
                <a:gd name="connsiteY32" fmla="*/ 166399 h 391019"/>
                <a:gd name="connsiteX33" fmla="*/ 208139 w 278943"/>
                <a:gd name="connsiteY33" fmla="*/ 152656 h 391019"/>
                <a:gd name="connsiteX34" fmla="*/ 217713 w 278943"/>
                <a:gd name="connsiteY34" fmla="*/ 131808 h 391019"/>
                <a:gd name="connsiteX35" fmla="*/ 217713 w 278943"/>
                <a:gd name="connsiteY35" fmla="*/ 89341 h 391019"/>
                <a:gd name="connsiteX36" fmla="*/ 208139 w 278943"/>
                <a:gd name="connsiteY36" fmla="*/ 69111 h 391019"/>
                <a:gd name="connsiteX37" fmla="*/ 188835 w 278943"/>
                <a:gd name="connsiteY37" fmla="*/ 49807 h 391019"/>
                <a:gd name="connsiteX38" fmla="*/ 168605 w 278943"/>
                <a:gd name="connsiteY38" fmla="*/ 41468 h 391019"/>
                <a:gd name="connsiteX39" fmla="*/ 48693 w 278943"/>
                <a:gd name="connsiteY39" fmla="*/ 41468 h 39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8943" h="391019">
                  <a:moveTo>
                    <a:pt x="189144" y="390936"/>
                  </a:moveTo>
                  <a:lnTo>
                    <a:pt x="13407" y="390936"/>
                  </a:lnTo>
                  <a:cubicBezTo>
                    <a:pt x="6821" y="391708"/>
                    <a:pt x="856" y="386996"/>
                    <a:pt x="83" y="380410"/>
                  </a:cubicBezTo>
                  <a:cubicBezTo>
                    <a:pt x="-27" y="379469"/>
                    <a:pt x="-26" y="378519"/>
                    <a:pt x="87" y="377578"/>
                  </a:cubicBezTo>
                  <a:lnTo>
                    <a:pt x="87" y="13440"/>
                  </a:lnTo>
                  <a:cubicBezTo>
                    <a:pt x="-704" y="6856"/>
                    <a:pt x="3991" y="877"/>
                    <a:pt x="10575" y="86"/>
                  </a:cubicBezTo>
                  <a:cubicBezTo>
                    <a:pt x="11515" y="-27"/>
                    <a:pt x="12465" y="-29"/>
                    <a:pt x="13406" y="82"/>
                  </a:cubicBezTo>
                  <a:lnTo>
                    <a:pt x="175555" y="82"/>
                  </a:lnTo>
                  <a:cubicBezTo>
                    <a:pt x="199838" y="82"/>
                    <a:pt x="212733" y="4792"/>
                    <a:pt x="226593" y="18652"/>
                  </a:cubicBezTo>
                  <a:lnTo>
                    <a:pt x="245356" y="37414"/>
                  </a:lnTo>
                  <a:cubicBezTo>
                    <a:pt x="262767" y="54826"/>
                    <a:pt x="265161" y="61119"/>
                    <a:pt x="265161" y="89109"/>
                  </a:cubicBezTo>
                  <a:lnTo>
                    <a:pt x="265161" y="124125"/>
                  </a:lnTo>
                  <a:cubicBezTo>
                    <a:pt x="265161" y="152385"/>
                    <a:pt x="262574" y="159219"/>
                    <a:pt x="245356" y="176437"/>
                  </a:cubicBezTo>
                  <a:lnTo>
                    <a:pt x="233272" y="188560"/>
                  </a:lnTo>
                  <a:lnTo>
                    <a:pt x="259138" y="214426"/>
                  </a:lnTo>
                  <a:cubicBezTo>
                    <a:pt x="276357" y="231645"/>
                    <a:pt x="278943" y="238478"/>
                    <a:pt x="278943" y="266738"/>
                  </a:cubicBezTo>
                  <a:lnTo>
                    <a:pt x="278943" y="301755"/>
                  </a:lnTo>
                  <a:cubicBezTo>
                    <a:pt x="278943" y="329745"/>
                    <a:pt x="276550" y="336037"/>
                    <a:pt x="259138" y="353449"/>
                  </a:cubicBezTo>
                  <a:lnTo>
                    <a:pt x="240375" y="372212"/>
                  </a:lnTo>
                  <a:cubicBezTo>
                    <a:pt x="226515" y="386226"/>
                    <a:pt x="213466" y="390936"/>
                    <a:pt x="189144" y="390936"/>
                  </a:cubicBezTo>
                  <a:close/>
                  <a:moveTo>
                    <a:pt x="48616" y="349859"/>
                  </a:moveTo>
                  <a:lnTo>
                    <a:pt x="181037" y="349859"/>
                  </a:lnTo>
                  <a:cubicBezTo>
                    <a:pt x="190457" y="349859"/>
                    <a:pt x="193275" y="349550"/>
                    <a:pt x="201267" y="341558"/>
                  </a:cubicBezTo>
                  <a:lnTo>
                    <a:pt x="220570" y="322255"/>
                  </a:lnTo>
                  <a:cubicBezTo>
                    <a:pt x="228291" y="314727"/>
                    <a:pt x="230144" y="311368"/>
                    <a:pt x="230144" y="302025"/>
                  </a:cubicBezTo>
                  <a:lnTo>
                    <a:pt x="230144" y="261256"/>
                  </a:lnTo>
                  <a:cubicBezTo>
                    <a:pt x="230144" y="251605"/>
                    <a:pt x="227751" y="247589"/>
                    <a:pt x="220570" y="240409"/>
                  </a:cubicBezTo>
                  <a:lnTo>
                    <a:pt x="201807" y="221646"/>
                  </a:lnTo>
                  <a:cubicBezTo>
                    <a:pt x="193816" y="213654"/>
                    <a:pt x="190225" y="213307"/>
                    <a:pt x="179685" y="213307"/>
                  </a:cubicBezTo>
                  <a:lnTo>
                    <a:pt x="48423" y="213307"/>
                  </a:lnTo>
                  <a:close/>
                  <a:moveTo>
                    <a:pt x="48616" y="174121"/>
                  </a:moveTo>
                  <a:lnTo>
                    <a:pt x="174126" y="174121"/>
                  </a:lnTo>
                  <a:cubicBezTo>
                    <a:pt x="184009" y="174121"/>
                    <a:pt x="186674" y="174121"/>
                    <a:pt x="194395" y="166399"/>
                  </a:cubicBezTo>
                  <a:lnTo>
                    <a:pt x="208139" y="152656"/>
                  </a:lnTo>
                  <a:cubicBezTo>
                    <a:pt x="215319" y="145475"/>
                    <a:pt x="217713" y="141460"/>
                    <a:pt x="217713" y="131808"/>
                  </a:cubicBezTo>
                  <a:lnTo>
                    <a:pt x="217713" y="89341"/>
                  </a:lnTo>
                  <a:cubicBezTo>
                    <a:pt x="217713" y="79998"/>
                    <a:pt x="215667" y="76639"/>
                    <a:pt x="208139" y="69111"/>
                  </a:cubicBezTo>
                  <a:lnTo>
                    <a:pt x="188835" y="49807"/>
                  </a:lnTo>
                  <a:cubicBezTo>
                    <a:pt x="180844" y="41777"/>
                    <a:pt x="178025" y="41468"/>
                    <a:pt x="168605" y="41468"/>
                  </a:cubicBezTo>
                  <a:lnTo>
                    <a:pt x="48693" y="41468"/>
                  </a:lnTo>
                  <a:close/>
                </a:path>
              </a:pathLst>
            </a:custGeom>
            <a:grpFill/>
            <a:ln w="3861"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0BF2938E-5E9C-E128-4A26-DE44AA7AFBC0}"/>
                </a:ext>
              </a:extLst>
            </p:cNvPr>
            <p:cNvSpPr/>
            <p:nvPr/>
          </p:nvSpPr>
          <p:spPr>
            <a:xfrm>
              <a:off x="7441057" y="7230782"/>
              <a:ext cx="264301" cy="313756"/>
            </a:xfrm>
            <a:custGeom>
              <a:avLst/>
              <a:gdLst>
                <a:gd name="connsiteX0" fmla="*/ 177900 w 264301"/>
                <a:gd name="connsiteY0" fmla="*/ 313757 h 313756"/>
                <a:gd name="connsiteX1" fmla="*/ 85243 w 264301"/>
                <a:gd name="connsiteY1" fmla="*/ 313757 h 313756"/>
                <a:gd name="connsiteX2" fmla="*/ 36059 w 264301"/>
                <a:gd name="connsiteY2" fmla="*/ 295187 h 313756"/>
                <a:gd name="connsiteX3" fmla="*/ 19805 w 264301"/>
                <a:gd name="connsiteY3" fmla="*/ 278934 h 313756"/>
                <a:gd name="connsiteX4" fmla="*/ 0 w 264301"/>
                <a:gd name="connsiteY4" fmla="*/ 226621 h 313756"/>
                <a:gd name="connsiteX5" fmla="*/ 0 w 264301"/>
                <a:gd name="connsiteY5" fmla="*/ 87135 h 313756"/>
                <a:gd name="connsiteX6" fmla="*/ 19805 w 264301"/>
                <a:gd name="connsiteY6" fmla="*/ 34823 h 313756"/>
                <a:gd name="connsiteX7" fmla="*/ 36059 w 264301"/>
                <a:gd name="connsiteY7" fmla="*/ 18570 h 313756"/>
                <a:gd name="connsiteX8" fmla="*/ 85243 w 264301"/>
                <a:gd name="connsiteY8" fmla="*/ 0 h 313756"/>
                <a:gd name="connsiteX9" fmla="*/ 179058 w 264301"/>
                <a:gd name="connsiteY9" fmla="*/ 0 h 313756"/>
                <a:gd name="connsiteX10" fmla="*/ 228243 w 264301"/>
                <a:gd name="connsiteY10" fmla="*/ 18570 h 313756"/>
                <a:gd name="connsiteX11" fmla="*/ 244496 w 264301"/>
                <a:gd name="connsiteY11" fmla="*/ 34823 h 313756"/>
                <a:gd name="connsiteX12" fmla="*/ 264301 w 264301"/>
                <a:gd name="connsiteY12" fmla="*/ 87135 h 313756"/>
                <a:gd name="connsiteX13" fmla="*/ 264301 w 264301"/>
                <a:gd name="connsiteY13" fmla="*/ 155315 h 313756"/>
                <a:gd name="connsiteX14" fmla="*/ 243492 w 264301"/>
                <a:gd name="connsiteY14" fmla="*/ 177398 h 313756"/>
                <a:gd name="connsiteX15" fmla="*/ 46058 w 264301"/>
                <a:gd name="connsiteY15" fmla="*/ 177398 h 313756"/>
                <a:gd name="connsiteX16" fmla="*/ 46058 w 264301"/>
                <a:gd name="connsiteY16" fmla="*/ 229131 h 313756"/>
                <a:gd name="connsiteX17" fmla="*/ 55015 w 264301"/>
                <a:gd name="connsiteY17" fmla="*/ 249361 h 313756"/>
                <a:gd name="connsiteX18" fmla="*/ 69376 w 264301"/>
                <a:gd name="connsiteY18" fmla="*/ 263761 h 313756"/>
                <a:gd name="connsiteX19" fmla="*/ 91498 w 264301"/>
                <a:gd name="connsiteY19" fmla="*/ 272062 h 313756"/>
                <a:gd name="connsiteX20" fmla="*/ 175313 w 264301"/>
                <a:gd name="connsiteY20" fmla="*/ 272062 h 313756"/>
                <a:gd name="connsiteX21" fmla="*/ 201643 w 264301"/>
                <a:gd name="connsiteY21" fmla="*/ 267197 h 313756"/>
                <a:gd name="connsiteX22" fmla="*/ 241562 w 264301"/>
                <a:gd name="connsiteY22" fmla="*/ 247894 h 313756"/>
                <a:gd name="connsiteX23" fmla="*/ 260479 w 264301"/>
                <a:gd name="connsiteY23" fmla="*/ 280323 h 313756"/>
                <a:gd name="connsiteX24" fmla="*/ 224228 w 264301"/>
                <a:gd name="connsiteY24" fmla="*/ 302329 h 313756"/>
                <a:gd name="connsiteX25" fmla="*/ 177900 w 264301"/>
                <a:gd name="connsiteY25" fmla="*/ 313757 h 313756"/>
                <a:gd name="connsiteX26" fmla="*/ 46135 w 264301"/>
                <a:gd name="connsiteY26" fmla="*/ 137131 h 313756"/>
                <a:gd name="connsiteX27" fmla="*/ 218977 w 264301"/>
                <a:gd name="connsiteY27" fmla="*/ 137131 h 313756"/>
                <a:gd name="connsiteX28" fmla="*/ 218977 w 264301"/>
                <a:gd name="connsiteY28" fmla="*/ 84008 h 313756"/>
                <a:gd name="connsiteX29" fmla="*/ 209403 w 264301"/>
                <a:gd name="connsiteY29" fmla="*/ 63778 h 313756"/>
                <a:gd name="connsiteX30" fmla="*/ 195003 w 264301"/>
                <a:gd name="connsiteY30" fmla="*/ 49378 h 313756"/>
                <a:gd name="connsiteX31" fmla="*/ 172881 w 264301"/>
                <a:gd name="connsiteY31" fmla="*/ 41077 h 313756"/>
                <a:gd name="connsiteX32" fmla="*/ 91575 w 264301"/>
                <a:gd name="connsiteY32" fmla="*/ 41077 h 313756"/>
                <a:gd name="connsiteX33" fmla="*/ 69415 w 264301"/>
                <a:gd name="connsiteY33" fmla="*/ 49417 h 313756"/>
                <a:gd name="connsiteX34" fmla="*/ 55092 w 264301"/>
                <a:gd name="connsiteY34" fmla="*/ 63778 h 313756"/>
                <a:gd name="connsiteX35" fmla="*/ 46135 w 264301"/>
                <a:gd name="connsiteY35" fmla="*/ 84008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4301" h="313756">
                  <a:moveTo>
                    <a:pt x="177900" y="313757"/>
                  </a:moveTo>
                  <a:lnTo>
                    <a:pt x="85243" y="313757"/>
                  </a:lnTo>
                  <a:cubicBezTo>
                    <a:pt x="61500" y="313757"/>
                    <a:pt x="50497" y="309587"/>
                    <a:pt x="36059" y="295187"/>
                  </a:cubicBezTo>
                  <a:lnTo>
                    <a:pt x="19805" y="278934"/>
                  </a:lnTo>
                  <a:cubicBezTo>
                    <a:pt x="2586" y="261715"/>
                    <a:pt x="0" y="254882"/>
                    <a:pt x="0" y="226621"/>
                  </a:cubicBezTo>
                  <a:lnTo>
                    <a:pt x="0" y="87135"/>
                  </a:lnTo>
                  <a:cubicBezTo>
                    <a:pt x="0" y="58914"/>
                    <a:pt x="2586" y="52042"/>
                    <a:pt x="19805" y="34823"/>
                  </a:cubicBezTo>
                  <a:lnTo>
                    <a:pt x="36059" y="18570"/>
                  </a:lnTo>
                  <a:cubicBezTo>
                    <a:pt x="50459" y="4169"/>
                    <a:pt x="61500" y="0"/>
                    <a:pt x="85243" y="0"/>
                  </a:cubicBezTo>
                  <a:lnTo>
                    <a:pt x="179058" y="0"/>
                  </a:lnTo>
                  <a:cubicBezTo>
                    <a:pt x="202801" y="0"/>
                    <a:pt x="213804" y="4169"/>
                    <a:pt x="228243" y="18570"/>
                  </a:cubicBezTo>
                  <a:lnTo>
                    <a:pt x="244496" y="34823"/>
                  </a:lnTo>
                  <a:cubicBezTo>
                    <a:pt x="261715" y="52042"/>
                    <a:pt x="264301" y="58914"/>
                    <a:pt x="264301" y="87135"/>
                  </a:cubicBezTo>
                  <a:lnTo>
                    <a:pt x="264301" y="155315"/>
                  </a:lnTo>
                  <a:cubicBezTo>
                    <a:pt x="264301" y="169561"/>
                    <a:pt x="256927" y="177398"/>
                    <a:pt x="243492" y="177398"/>
                  </a:cubicBezTo>
                  <a:lnTo>
                    <a:pt x="46058" y="177398"/>
                  </a:lnTo>
                  <a:lnTo>
                    <a:pt x="46058" y="229131"/>
                  </a:lnTo>
                  <a:cubicBezTo>
                    <a:pt x="46058" y="238512"/>
                    <a:pt x="47563" y="241910"/>
                    <a:pt x="55015" y="249361"/>
                  </a:cubicBezTo>
                  <a:lnTo>
                    <a:pt x="69376" y="263761"/>
                  </a:lnTo>
                  <a:cubicBezTo>
                    <a:pt x="77097" y="271482"/>
                    <a:pt x="79260" y="272062"/>
                    <a:pt x="91498" y="272062"/>
                  </a:cubicBezTo>
                  <a:lnTo>
                    <a:pt x="175313" y="272062"/>
                  </a:lnTo>
                  <a:cubicBezTo>
                    <a:pt x="184345" y="272456"/>
                    <a:pt x="193348" y="270793"/>
                    <a:pt x="201643" y="267197"/>
                  </a:cubicBezTo>
                  <a:lnTo>
                    <a:pt x="241562" y="247894"/>
                  </a:lnTo>
                  <a:lnTo>
                    <a:pt x="260479" y="280323"/>
                  </a:lnTo>
                  <a:lnTo>
                    <a:pt x="224228" y="302329"/>
                  </a:lnTo>
                  <a:cubicBezTo>
                    <a:pt x="209403" y="311595"/>
                    <a:pt x="200716" y="313757"/>
                    <a:pt x="177900" y="313757"/>
                  </a:cubicBezTo>
                  <a:close/>
                  <a:moveTo>
                    <a:pt x="46135" y="137131"/>
                  </a:moveTo>
                  <a:lnTo>
                    <a:pt x="218977" y="137131"/>
                  </a:lnTo>
                  <a:lnTo>
                    <a:pt x="218977" y="84008"/>
                  </a:lnTo>
                  <a:cubicBezTo>
                    <a:pt x="218977" y="74704"/>
                    <a:pt x="216931" y="71307"/>
                    <a:pt x="209403" y="63778"/>
                  </a:cubicBezTo>
                  <a:lnTo>
                    <a:pt x="195003" y="49378"/>
                  </a:lnTo>
                  <a:cubicBezTo>
                    <a:pt x="187281" y="42236"/>
                    <a:pt x="185080" y="41077"/>
                    <a:pt x="172881" y="41077"/>
                  </a:cubicBezTo>
                  <a:lnTo>
                    <a:pt x="91575" y="41077"/>
                  </a:lnTo>
                  <a:cubicBezTo>
                    <a:pt x="79375" y="41077"/>
                    <a:pt x="77252" y="42236"/>
                    <a:pt x="69415" y="49417"/>
                  </a:cubicBezTo>
                  <a:lnTo>
                    <a:pt x="55092" y="63778"/>
                  </a:lnTo>
                  <a:cubicBezTo>
                    <a:pt x="47641" y="71229"/>
                    <a:pt x="46135" y="74627"/>
                    <a:pt x="46135" y="84008"/>
                  </a:cubicBezTo>
                  <a:close/>
                </a:path>
              </a:pathLst>
            </a:custGeom>
            <a:grpFill/>
            <a:ln w="3861"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931A200A-EF8C-1F4E-8591-6BE3DF8C3D7E}"/>
                </a:ext>
              </a:extLst>
            </p:cNvPr>
            <p:cNvSpPr/>
            <p:nvPr/>
          </p:nvSpPr>
          <p:spPr>
            <a:xfrm>
              <a:off x="7777592" y="7230782"/>
              <a:ext cx="251021" cy="313756"/>
            </a:xfrm>
            <a:custGeom>
              <a:avLst/>
              <a:gdLst>
                <a:gd name="connsiteX0" fmla="*/ 168441 w 251021"/>
                <a:gd name="connsiteY0" fmla="*/ 313757 h 313756"/>
                <a:gd name="connsiteX1" fmla="*/ 85244 w 251021"/>
                <a:gd name="connsiteY1" fmla="*/ 313757 h 313756"/>
                <a:gd name="connsiteX2" fmla="*/ 36098 w 251021"/>
                <a:gd name="connsiteY2" fmla="*/ 295187 h 313756"/>
                <a:gd name="connsiteX3" fmla="*/ 19805 w 251021"/>
                <a:gd name="connsiteY3" fmla="*/ 278934 h 313756"/>
                <a:gd name="connsiteX4" fmla="*/ 0 w 251021"/>
                <a:gd name="connsiteY4" fmla="*/ 226621 h 313756"/>
                <a:gd name="connsiteX5" fmla="*/ 0 w 251021"/>
                <a:gd name="connsiteY5" fmla="*/ 87135 h 313756"/>
                <a:gd name="connsiteX6" fmla="*/ 19805 w 251021"/>
                <a:gd name="connsiteY6" fmla="*/ 34823 h 313756"/>
                <a:gd name="connsiteX7" fmla="*/ 36098 w 251021"/>
                <a:gd name="connsiteY7" fmla="*/ 18570 h 313756"/>
                <a:gd name="connsiteX8" fmla="*/ 85244 w 251021"/>
                <a:gd name="connsiteY8" fmla="*/ 0 h 313756"/>
                <a:gd name="connsiteX9" fmla="*/ 164079 w 251021"/>
                <a:gd name="connsiteY9" fmla="*/ 0 h 313756"/>
                <a:gd name="connsiteX10" fmla="*/ 210407 w 251021"/>
                <a:gd name="connsiteY10" fmla="*/ 11582 h 313756"/>
                <a:gd name="connsiteX11" fmla="*/ 246658 w 251021"/>
                <a:gd name="connsiteY11" fmla="*/ 32275 h 313756"/>
                <a:gd name="connsiteX12" fmla="*/ 228475 w 251021"/>
                <a:gd name="connsiteY12" fmla="*/ 66635 h 313756"/>
                <a:gd name="connsiteX13" fmla="*/ 187822 w 251021"/>
                <a:gd name="connsiteY13" fmla="*/ 47911 h 313756"/>
                <a:gd name="connsiteX14" fmla="*/ 161530 w 251021"/>
                <a:gd name="connsiteY14" fmla="*/ 43046 h 313756"/>
                <a:gd name="connsiteX15" fmla="*/ 91460 w 251021"/>
                <a:gd name="connsiteY15" fmla="*/ 43046 h 313756"/>
                <a:gd name="connsiteX16" fmla="*/ 69299 w 251021"/>
                <a:gd name="connsiteY16" fmla="*/ 51424 h 313756"/>
                <a:gd name="connsiteX17" fmla="*/ 54976 w 251021"/>
                <a:gd name="connsiteY17" fmla="*/ 65786 h 313756"/>
                <a:gd name="connsiteX18" fmla="*/ 46019 w 251021"/>
                <a:gd name="connsiteY18" fmla="*/ 86016 h 313756"/>
                <a:gd name="connsiteX19" fmla="*/ 46019 w 251021"/>
                <a:gd name="connsiteY19" fmla="*/ 227857 h 313756"/>
                <a:gd name="connsiteX20" fmla="*/ 54976 w 251021"/>
                <a:gd name="connsiteY20" fmla="*/ 248125 h 313756"/>
                <a:gd name="connsiteX21" fmla="*/ 69377 w 251021"/>
                <a:gd name="connsiteY21" fmla="*/ 262487 h 313756"/>
                <a:gd name="connsiteX22" fmla="*/ 91460 w 251021"/>
                <a:gd name="connsiteY22" fmla="*/ 270826 h 313756"/>
                <a:gd name="connsiteX23" fmla="*/ 165893 w 251021"/>
                <a:gd name="connsiteY23" fmla="*/ 270826 h 313756"/>
                <a:gd name="connsiteX24" fmla="*/ 192223 w 251021"/>
                <a:gd name="connsiteY24" fmla="*/ 265923 h 313756"/>
                <a:gd name="connsiteX25" fmla="*/ 232837 w 251021"/>
                <a:gd name="connsiteY25" fmla="*/ 246620 h 313756"/>
                <a:gd name="connsiteX26" fmla="*/ 251021 w 251021"/>
                <a:gd name="connsiteY26" fmla="*/ 280285 h 313756"/>
                <a:gd name="connsiteX27" fmla="*/ 214808 w 251021"/>
                <a:gd name="connsiteY27" fmla="*/ 302291 h 313756"/>
                <a:gd name="connsiteX28" fmla="*/ 168441 w 251021"/>
                <a:gd name="connsiteY28" fmla="*/ 313757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1021" h="313756">
                  <a:moveTo>
                    <a:pt x="168441" y="313757"/>
                  </a:moveTo>
                  <a:lnTo>
                    <a:pt x="85244" y="313757"/>
                  </a:lnTo>
                  <a:cubicBezTo>
                    <a:pt x="61501" y="313757"/>
                    <a:pt x="50498" y="309587"/>
                    <a:pt x="36098" y="295187"/>
                  </a:cubicBezTo>
                  <a:lnTo>
                    <a:pt x="19805" y="278934"/>
                  </a:lnTo>
                  <a:cubicBezTo>
                    <a:pt x="2587" y="261715"/>
                    <a:pt x="0" y="254882"/>
                    <a:pt x="0" y="226621"/>
                  </a:cubicBezTo>
                  <a:lnTo>
                    <a:pt x="0" y="87135"/>
                  </a:lnTo>
                  <a:cubicBezTo>
                    <a:pt x="0" y="58914"/>
                    <a:pt x="2587" y="52042"/>
                    <a:pt x="19805" y="34823"/>
                  </a:cubicBezTo>
                  <a:lnTo>
                    <a:pt x="36098" y="18570"/>
                  </a:lnTo>
                  <a:cubicBezTo>
                    <a:pt x="50459" y="4169"/>
                    <a:pt x="61501" y="0"/>
                    <a:pt x="85244" y="0"/>
                  </a:cubicBezTo>
                  <a:lnTo>
                    <a:pt x="164079" y="0"/>
                  </a:lnTo>
                  <a:cubicBezTo>
                    <a:pt x="186432" y="0"/>
                    <a:pt x="194964" y="2741"/>
                    <a:pt x="210407" y="11582"/>
                  </a:cubicBezTo>
                  <a:lnTo>
                    <a:pt x="246658" y="32275"/>
                  </a:lnTo>
                  <a:lnTo>
                    <a:pt x="228475" y="66635"/>
                  </a:lnTo>
                  <a:lnTo>
                    <a:pt x="187822" y="47911"/>
                  </a:lnTo>
                  <a:cubicBezTo>
                    <a:pt x="179541" y="44312"/>
                    <a:pt x="170551" y="42648"/>
                    <a:pt x="161530" y="43046"/>
                  </a:cubicBezTo>
                  <a:lnTo>
                    <a:pt x="91460" y="43046"/>
                  </a:lnTo>
                  <a:cubicBezTo>
                    <a:pt x="79260" y="43046"/>
                    <a:pt x="77137" y="44205"/>
                    <a:pt x="69299" y="51424"/>
                  </a:cubicBezTo>
                  <a:lnTo>
                    <a:pt x="54976" y="65786"/>
                  </a:lnTo>
                  <a:cubicBezTo>
                    <a:pt x="47525" y="73237"/>
                    <a:pt x="46019" y="76634"/>
                    <a:pt x="46019" y="86016"/>
                  </a:cubicBezTo>
                  <a:lnTo>
                    <a:pt x="46019" y="227857"/>
                  </a:lnTo>
                  <a:cubicBezTo>
                    <a:pt x="46019" y="237238"/>
                    <a:pt x="47525" y="240674"/>
                    <a:pt x="54976" y="248125"/>
                  </a:cubicBezTo>
                  <a:lnTo>
                    <a:pt x="69377" y="262487"/>
                  </a:lnTo>
                  <a:cubicBezTo>
                    <a:pt x="77098" y="269668"/>
                    <a:pt x="79260" y="270826"/>
                    <a:pt x="91460" y="270826"/>
                  </a:cubicBezTo>
                  <a:lnTo>
                    <a:pt x="165893" y="270826"/>
                  </a:lnTo>
                  <a:cubicBezTo>
                    <a:pt x="174930" y="271232"/>
                    <a:pt x="183938" y="269555"/>
                    <a:pt x="192223" y="265923"/>
                  </a:cubicBezTo>
                  <a:lnTo>
                    <a:pt x="232837" y="246620"/>
                  </a:lnTo>
                  <a:lnTo>
                    <a:pt x="251021" y="280285"/>
                  </a:lnTo>
                  <a:lnTo>
                    <a:pt x="214808" y="302291"/>
                  </a:lnTo>
                  <a:cubicBezTo>
                    <a:pt x="199945" y="311595"/>
                    <a:pt x="191258" y="313757"/>
                    <a:pt x="168441" y="313757"/>
                  </a:cubicBezTo>
                  <a:close/>
                </a:path>
              </a:pathLst>
            </a:custGeom>
            <a:grpFill/>
            <a:ln w="3861"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6D146417-E2B2-7E15-B27C-8F7C7E7D506B}"/>
                </a:ext>
              </a:extLst>
            </p:cNvPr>
            <p:cNvSpPr/>
            <p:nvPr/>
          </p:nvSpPr>
          <p:spPr>
            <a:xfrm>
              <a:off x="8089071" y="7230666"/>
              <a:ext cx="268625" cy="313946"/>
            </a:xfrm>
            <a:custGeom>
              <a:avLst/>
              <a:gdLst>
                <a:gd name="connsiteX0" fmla="*/ 184077 w 268625"/>
                <a:gd name="connsiteY0" fmla="*/ 313873 h 313946"/>
                <a:gd name="connsiteX1" fmla="*/ 85244 w 268625"/>
                <a:gd name="connsiteY1" fmla="*/ 313873 h 313946"/>
                <a:gd name="connsiteX2" fmla="*/ 36059 w 268625"/>
                <a:gd name="connsiteY2" fmla="*/ 295303 h 313946"/>
                <a:gd name="connsiteX3" fmla="*/ 19805 w 268625"/>
                <a:gd name="connsiteY3" fmla="*/ 279049 h 313946"/>
                <a:gd name="connsiteX4" fmla="*/ 0 w 268625"/>
                <a:gd name="connsiteY4" fmla="*/ 226737 h 313946"/>
                <a:gd name="connsiteX5" fmla="*/ 0 w 268625"/>
                <a:gd name="connsiteY5" fmla="*/ 203573 h 313946"/>
                <a:gd name="connsiteX6" fmla="*/ 19805 w 268625"/>
                <a:gd name="connsiteY6" fmla="*/ 151261 h 313946"/>
                <a:gd name="connsiteX7" fmla="*/ 36059 w 268625"/>
                <a:gd name="connsiteY7" fmla="*/ 135008 h 313946"/>
                <a:gd name="connsiteX8" fmla="*/ 85244 w 268625"/>
                <a:gd name="connsiteY8" fmla="*/ 116476 h 313946"/>
                <a:gd name="connsiteX9" fmla="*/ 165314 w 268625"/>
                <a:gd name="connsiteY9" fmla="*/ 116476 h 313946"/>
                <a:gd name="connsiteX10" fmla="*/ 198207 w 268625"/>
                <a:gd name="connsiteY10" fmla="*/ 120878 h 313946"/>
                <a:gd name="connsiteX11" fmla="*/ 222645 w 268625"/>
                <a:gd name="connsiteY11" fmla="*/ 127865 h 313946"/>
                <a:gd name="connsiteX12" fmla="*/ 222645 w 268625"/>
                <a:gd name="connsiteY12" fmla="*/ 84742 h 313946"/>
                <a:gd name="connsiteX13" fmla="*/ 213689 w 268625"/>
                <a:gd name="connsiteY13" fmla="*/ 64512 h 313946"/>
                <a:gd name="connsiteX14" fmla="*/ 199288 w 268625"/>
                <a:gd name="connsiteY14" fmla="*/ 50111 h 313946"/>
                <a:gd name="connsiteX15" fmla="*/ 177166 w 268625"/>
                <a:gd name="connsiteY15" fmla="*/ 41811 h 313946"/>
                <a:gd name="connsiteX16" fmla="*/ 99644 w 268625"/>
                <a:gd name="connsiteY16" fmla="*/ 41811 h 313946"/>
                <a:gd name="connsiteX17" fmla="*/ 75206 w 268625"/>
                <a:gd name="connsiteY17" fmla="*/ 46676 h 313946"/>
                <a:gd name="connsiteX18" fmla="*/ 34013 w 268625"/>
                <a:gd name="connsiteY18" fmla="*/ 66635 h 313946"/>
                <a:gd name="connsiteX19" fmla="*/ 15134 w 268625"/>
                <a:gd name="connsiteY19" fmla="*/ 33588 h 313946"/>
                <a:gd name="connsiteX20" fmla="*/ 51347 w 268625"/>
                <a:gd name="connsiteY20" fmla="*/ 11582 h 313946"/>
                <a:gd name="connsiteX21" fmla="*/ 97675 w 268625"/>
                <a:gd name="connsiteY21" fmla="*/ 0 h 313946"/>
                <a:gd name="connsiteX22" fmla="*/ 183343 w 268625"/>
                <a:gd name="connsiteY22" fmla="*/ 0 h 313946"/>
                <a:gd name="connsiteX23" fmla="*/ 232528 w 268625"/>
                <a:gd name="connsiteY23" fmla="*/ 18570 h 313946"/>
                <a:gd name="connsiteX24" fmla="*/ 248820 w 268625"/>
                <a:gd name="connsiteY24" fmla="*/ 34823 h 313946"/>
                <a:gd name="connsiteX25" fmla="*/ 268626 w 268625"/>
                <a:gd name="connsiteY25" fmla="*/ 87135 h 313946"/>
                <a:gd name="connsiteX26" fmla="*/ 268626 w 268625"/>
                <a:gd name="connsiteY26" fmla="*/ 268587 h 313946"/>
                <a:gd name="connsiteX27" fmla="*/ 252102 w 268625"/>
                <a:gd name="connsiteY27" fmla="*/ 294338 h 313946"/>
                <a:gd name="connsiteX28" fmla="*/ 220792 w 268625"/>
                <a:gd name="connsiteY28" fmla="*/ 306846 h 313946"/>
                <a:gd name="connsiteX29" fmla="*/ 184077 w 268625"/>
                <a:gd name="connsiteY29" fmla="*/ 313873 h 313946"/>
                <a:gd name="connsiteX30" fmla="*/ 90880 w 268625"/>
                <a:gd name="connsiteY30" fmla="*/ 158133 h 313946"/>
                <a:gd name="connsiteX31" fmla="*/ 68759 w 268625"/>
                <a:gd name="connsiteY31" fmla="*/ 166472 h 313946"/>
                <a:gd name="connsiteX32" fmla="*/ 55015 w 268625"/>
                <a:gd name="connsiteY32" fmla="*/ 180216 h 313946"/>
                <a:gd name="connsiteX33" fmla="*/ 46058 w 268625"/>
                <a:gd name="connsiteY33" fmla="*/ 200485 h 313946"/>
                <a:gd name="connsiteX34" fmla="*/ 46058 w 268625"/>
                <a:gd name="connsiteY34" fmla="*/ 229903 h 313946"/>
                <a:gd name="connsiteX35" fmla="*/ 55015 w 268625"/>
                <a:gd name="connsiteY35" fmla="*/ 250133 h 313946"/>
                <a:gd name="connsiteX36" fmla="*/ 68759 w 268625"/>
                <a:gd name="connsiteY36" fmla="*/ 263915 h 313946"/>
                <a:gd name="connsiteX37" fmla="*/ 90880 w 268625"/>
                <a:gd name="connsiteY37" fmla="*/ 272216 h 313946"/>
                <a:gd name="connsiteX38" fmla="*/ 180486 w 268625"/>
                <a:gd name="connsiteY38" fmla="*/ 272216 h 313946"/>
                <a:gd name="connsiteX39" fmla="*/ 193111 w 268625"/>
                <a:gd name="connsiteY39" fmla="*/ 269822 h 313946"/>
                <a:gd name="connsiteX40" fmla="*/ 220136 w 268625"/>
                <a:gd name="connsiteY40" fmla="*/ 259205 h 313946"/>
                <a:gd name="connsiteX41" fmla="*/ 222992 w 268625"/>
                <a:gd name="connsiteY41" fmla="*/ 254920 h 313946"/>
                <a:gd name="connsiteX42" fmla="*/ 222992 w 268625"/>
                <a:gd name="connsiteY42" fmla="*/ 175429 h 313946"/>
                <a:gd name="connsiteX43" fmla="*/ 217780 w 268625"/>
                <a:gd name="connsiteY43" fmla="*/ 169329 h 313946"/>
                <a:gd name="connsiteX44" fmla="*/ 186509 w 268625"/>
                <a:gd name="connsiteY44" fmla="*/ 160565 h 313946"/>
                <a:gd name="connsiteX45" fmla="*/ 164388 w 268625"/>
                <a:gd name="connsiteY45" fmla="*/ 158133 h 31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8625" h="313946">
                  <a:moveTo>
                    <a:pt x="184077" y="313873"/>
                  </a:moveTo>
                  <a:lnTo>
                    <a:pt x="85244" y="313873"/>
                  </a:lnTo>
                  <a:cubicBezTo>
                    <a:pt x="61500" y="313873"/>
                    <a:pt x="50498" y="309703"/>
                    <a:pt x="36059" y="295303"/>
                  </a:cubicBezTo>
                  <a:lnTo>
                    <a:pt x="19805" y="279049"/>
                  </a:lnTo>
                  <a:cubicBezTo>
                    <a:pt x="2586" y="261831"/>
                    <a:pt x="0" y="254959"/>
                    <a:pt x="0" y="226737"/>
                  </a:cubicBezTo>
                  <a:lnTo>
                    <a:pt x="0" y="203573"/>
                  </a:lnTo>
                  <a:cubicBezTo>
                    <a:pt x="0" y="175352"/>
                    <a:pt x="2586" y="168518"/>
                    <a:pt x="19805" y="151261"/>
                  </a:cubicBezTo>
                  <a:lnTo>
                    <a:pt x="36059" y="135008"/>
                  </a:lnTo>
                  <a:cubicBezTo>
                    <a:pt x="50459" y="120607"/>
                    <a:pt x="61500" y="116476"/>
                    <a:pt x="85244" y="116476"/>
                  </a:cubicBezTo>
                  <a:lnTo>
                    <a:pt x="165314" y="116476"/>
                  </a:lnTo>
                  <a:cubicBezTo>
                    <a:pt x="176435" y="116313"/>
                    <a:pt x="187520" y="117796"/>
                    <a:pt x="198207" y="120878"/>
                  </a:cubicBezTo>
                  <a:lnTo>
                    <a:pt x="222645" y="127865"/>
                  </a:lnTo>
                  <a:lnTo>
                    <a:pt x="222645" y="84742"/>
                  </a:lnTo>
                  <a:cubicBezTo>
                    <a:pt x="222645" y="75360"/>
                    <a:pt x="221139" y="71963"/>
                    <a:pt x="213689" y="64512"/>
                  </a:cubicBezTo>
                  <a:lnTo>
                    <a:pt x="199288" y="50111"/>
                  </a:lnTo>
                  <a:cubicBezTo>
                    <a:pt x="191567" y="42969"/>
                    <a:pt x="189366" y="41811"/>
                    <a:pt x="177166" y="41811"/>
                  </a:cubicBezTo>
                  <a:lnTo>
                    <a:pt x="99644" y="41811"/>
                  </a:lnTo>
                  <a:cubicBezTo>
                    <a:pt x="91217" y="41332"/>
                    <a:pt x="82807" y="43006"/>
                    <a:pt x="75206" y="46676"/>
                  </a:cubicBezTo>
                  <a:lnTo>
                    <a:pt x="34013" y="66635"/>
                  </a:lnTo>
                  <a:lnTo>
                    <a:pt x="15134" y="33588"/>
                  </a:lnTo>
                  <a:lnTo>
                    <a:pt x="51347" y="11582"/>
                  </a:lnTo>
                  <a:cubicBezTo>
                    <a:pt x="66249" y="2278"/>
                    <a:pt x="74935" y="0"/>
                    <a:pt x="97675" y="0"/>
                  </a:cubicBezTo>
                  <a:lnTo>
                    <a:pt x="183343" y="0"/>
                  </a:lnTo>
                  <a:cubicBezTo>
                    <a:pt x="207125" y="0"/>
                    <a:pt x="218089" y="4169"/>
                    <a:pt x="232528" y="18570"/>
                  </a:cubicBezTo>
                  <a:lnTo>
                    <a:pt x="248820" y="34823"/>
                  </a:lnTo>
                  <a:cubicBezTo>
                    <a:pt x="266039" y="52042"/>
                    <a:pt x="268626" y="58914"/>
                    <a:pt x="268626" y="87135"/>
                  </a:cubicBezTo>
                  <a:lnTo>
                    <a:pt x="268626" y="268587"/>
                  </a:lnTo>
                  <a:cubicBezTo>
                    <a:pt x="268626" y="281945"/>
                    <a:pt x="263839" y="289396"/>
                    <a:pt x="252102" y="294338"/>
                  </a:cubicBezTo>
                  <a:lnTo>
                    <a:pt x="220792" y="306846"/>
                  </a:lnTo>
                  <a:cubicBezTo>
                    <a:pt x="209264" y="312007"/>
                    <a:pt x="196694" y="314412"/>
                    <a:pt x="184077" y="313873"/>
                  </a:cubicBezTo>
                  <a:close/>
                  <a:moveTo>
                    <a:pt x="90880" y="158133"/>
                  </a:moveTo>
                  <a:cubicBezTo>
                    <a:pt x="80032" y="158133"/>
                    <a:pt x="76055" y="159175"/>
                    <a:pt x="68759" y="166472"/>
                  </a:cubicBezTo>
                  <a:lnTo>
                    <a:pt x="55015" y="180216"/>
                  </a:lnTo>
                  <a:cubicBezTo>
                    <a:pt x="47564" y="187667"/>
                    <a:pt x="46058" y="191065"/>
                    <a:pt x="46058" y="200485"/>
                  </a:cubicBezTo>
                  <a:lnTo>
                    <a:pt x="46058" y="229903"/>
                  </a:lnTo>
                  <a:cubicBezTo>
                    <a:pt x="46058" y="239284"/>
                    <a:pt x="47564" y="242682"/>
                    <a:pt x="55015" y="250133"/>
                  </a:cubicBezTo>
                  <a:lnTo>
                    <a:pt x="68759" y="263915"/>
                  </a:lnTo>
                  <a:cubicBezTo>
                    <a:pt x="76480" y="271058"/>
                    <a:pt x="78680" y="272216"/>
                    <a:pt x="90880" y="272216"/>
                  </a:cubicBezTo>
                  <a:lnTo>
                    <a:pt x="180486" y="272216"/>
                  </a:lnTo>
                  <a:cubicBezTo>
                    <a:pt x="184816" y="272312"/>
                    <a:pt x="189117" y="271496"/>
                    <a:pt x="193111" y="269822"/>
                  </a:cubicBezTo>
                  <a:lnTo>
                    <a:pt x="220136" y="259205"/>
                  </a:lnTo>
                  <a:cubicBezTo>
                    <a:pt x="222722" y="258163"/>
                    <a:pt x="222992" y="257468"/>
                    <a:pt x="222992" y="254920"/>
                  </a:cubicBezTo>
                  <a:lnTo>
                    <a:pt x="222992" y="175429"/>
                  </a:lnTo>
                  <a:cubicBezTo>
                    <a:pt x="222992" y="171375"/>
                    <a:pt x="221873" y="170487"/>
                    <a:pt x="217780" y="169329"/>
                  </a:cubicBezTo>
                  <a:lnTo>
                    <a:pt x="186509" y="160565"/>
                  </a:lnTo>
                  <a:cubicBezTo>
                    <a:pt x="179276" y="158775"/>
                    <a:pt x="171837" y="157957"/>
                    <a:pt x="164388" y="158133"/>
                  </a:cubicBezTo>
                  <a:close/>
                </a:path>
              </a:pathLst>
            </a:custGeom>
            <a:grpFill/>
            <a:ln w="3861"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242BF5A4-4841-C176-99E3-3150C1B2D461}"/>
                </a:ext>
              </a:extLst>
            </p:cNvPr>
            <p:cNvSpPr/>
            <p:nvPr/>
          </p:nvSpPr>
          <p:spPr>
            <a:xfrm>
              <a:off x="8436802" y="7234566"/>
              <a:ext cx="265575" cy="310044"/>
            </a:xfrm>
            <a:custGeom>
              <a:avLst/>
              <a:gdLst>
                <a:gd name="connsiteX0" fmla="*/ 180949 w 265575"/>
                <a:gd name="connsiteY0" fmla="*/ 309973 h 310044"/>
                <a:gd name="connsiteX1" fmla="*/ 85243 w 265575"/>
                <a:gd name="connsiteY1" fmla="*/ 309973 h 310044"/>
                <a:gd name="connsiteX2" fmla="*/ 36058 w 265575"/>
                <a:gd name="connsiteY2" fmla="*/ 291404 h 310044"/>
                <a:gd name="connsiteX3" fmla="*/ 19805 w 265575"/>
                <a:gd name="connsiteY3" fmla="*/ 275150 h 310044"/>
                <a:gd name="connsiteX4" fmla="*/ 0 w 265575"/>
                <a:gd name="connsiteY4" fmla="*/ 222838 h 310044"/>
                <a:gd name="connsiteX5" fmla="*/ 0 w 265575"/>
                <a:gd name="connsiteY5" fmla="*/ 0 h 310044"/>
                <a:gd name="connsiteX6" fmla="*/ 46019 w 265575"/>
                <a:gd name="connsiteY6" fmla="*/ 0 h 310044"/>
                <a:gd name="connsiteX7" fmla="*/ 46019 w 265575"/>
                <a:gd name="connsiteY7" fmla="*/ 223919 h 310044"/>
                <a:gd name="connsiteX8" fmla="*/ 54976 w 265575"/>
                <a:gd name="connsiteY8" fmla="*/ 244188 h 310044"/>
                <a:gd name="connsiteX9" fmla="*/ 69376 w 265575"/>
                <a:gd name="connsiteY9" fmla="*/ 258549 h 310044"/>
                <a:gd name="connsiteX10" fmla="*/ 91498 w 265575"/>
                <a:gd name="connsiteY10" fmla="*/ 266888 h 310044"/>
                <a:gd name="connsiteX11" fmla="*/ 178440 w 265575"/>
                <a:gd name="connsiteY11" fmla="*/ 266888 h 310044"/>
                <a:gd name="connsiteX12" fmla="*/ 188517 w 265575"/>
                <a:gd name="connsiteY12" fmla="*/ 265112 h 310044"/>
                <a:gd name="connsiteX13" fmla="*/ 216660 w 265575"/>
                <a:gd name="connsiteY13" fmla="*/ 253839 h 310044"/>
                <a:gd name="connsiteX14" fmla="*/ 219517 w 265575"/>
                <a:gd name="connsiteY14" fmla="*/ 249592 h 310044"/>
                <a:gd name="connsiteX15" fmla="*/ 219517 w 265575"/>
                <a:gd name="connsiteY15" fmla="*/ 0 h 310044"/>
                <a:gd name="connsiteX16" fmla="*/ 265576 w 265575"/>
                <a:gd name="connsiteY16" fmla="*/ 0 h 310044"/>
                <a:gd name="connsiteX17" fmla="*/ 265576 w 265575"/>
                <a:gd name="connsiteY17" fmla="*/ 264611 h 310044"/>
                <a:gd name="connsiteX18" fmla="*/ 249052 w 265575"/>
                <a:gd name="connsiteY18" fmla="*/ 290361 h 310044"/>
                <a:gd name="connsiteX19" fmla="*/ 217741 w 265575"/>
                <a:gd name="connsiteY19" fmla="*/ 302870 h 310044"/>
                <a:gd name="connsiteX20" fmla="*/ 180949 w 265575"/>
                <a:gd name="connsiteY20" fmla="*/ 309973 h 31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5575" h="310044">
                  <a:moveTo>
                    <a:pt x="180949" y="309973"/>
                  </a:moveTo>
                  <a:lnTo>
                    <a:pt x="85243" y="309973"/>
                  </a:lnTo>
                  <a:cubicBezTo>
                    <a:pt x="61500" y="309973"/>
                    <a:pt x="50497" y="305804"/>
                    <a:pt x="36058" y="291404"/>
                  </a:cubicBezTo>
                  <a:lnTo>
                    <a:pt x="19805" y="275150"/>
                  </a:lnTo>
                  <a:cubicBezTo>
                    <a:pt x="2586" y="257931"/>
                    <a:pt x="0" y="251060"/>
                    <a:pt x="0" y="222838"/>
                  </a:cubicBezTo>
                  <a:lnTo>
                    <a:pt x="0" y="0"/>
                  </a:lnTo>
                  <a:lnTo>
                    <a:pt x="46019" y="0"/>
                  </a:lnTo>
                  <a:lnTo>
                    <a:pt x="46019" y="223919"/>
                  </a:lnTo>
                  <a:cubicBezTo>
                    <a:pt x="46019" y="233301"/>
                    <a:pt x="47563" y="236736"/>
                    <a:pt x="54976" y="244188"/>
                  </a:cubicBezTo>
                  <a:lnTo>
                    <a:pt x="69376" y="258549"/>
                  </a:lnTo>
                  <a:cubicBezTo>
                    <a:pt x="77097" y="265730"/>
                    <a:pt x="79298" y="266888"/>
                    <a:pt x="91498" y="266888"/>
                  </a:cubicBezTo>
                  <a:lnTo>
                    <a:pt x="178440" y="266888"/>
                  </a:lnTo>
                  <a:cubicBezTo>
                    <a:pt x="181880" y="266930"/>
                    <a:pt x="185298" y="266328"/>
                    <a:pt x="188517" y="265112"/>
                  </a:cubicBezTo>
                  <a:lnTo>
                    <a:pt x="216660" y="253839"/>
                  </a:lnTo>
                  <a:cubicBezTo>
                    <a:pt x="218549" y="253349"/>
                    <a:pt x="219775" y="251527"/>
                    <a:pt x="219517" y="249592"/>
                  </a:cubicBezTo>
                  <a:lnTo>
                    <a:pt x="219517" y="0"/>
                  </a:lnTo>
                  <a:lnTo>
                    <a:pt x="265576" y="0"/>
                  </a:lnTo>
                  <a:lnTo>
                    <a:pt x="265576" y="264611"/>
                  </a:lnTo>
                  <a:cubicBezTo>
                    <a:pt x="265576" y="277968"/>
                    <a:pt x="260789" y="285420"/>
                    <a:pt x="249052" y="290361"/>
                  </a:cubicBezTo>
                  <a:lnTo>
                    <a:pt x="217741" y="302870"/>
                  </a:lnTo>
                  <a:cubicBezTo>
                    <a:pt x="206197" y="308069"/>
                    <a:pt x="193599" y="310501"/>
                    <a:pt x="180949" y="309973"/>
                  </a:cubicBezTo>
                  <a:close/>
                </a:path>
              </a:pathLst>
            </a:custGeom>
            <a:grpFill/>
            <a:ln w="3861"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8DCD8DB1-FA6A-C323-AF85-278431A6E4AA}"/>
                </a:ext>
              </a:extLst>
            </p:cNvPr>
            <p:cNvSpPr/>
            <p:nvPr/>
          </p:nvSpPr>
          <p:spPr>
            <a:xfrm>
              <a:off x="8769013" y="7230782"/>
              <a:ext cx="249205" cy="313756"/>
            </a:xfrm>
            <a:custGeom>
              <a:avLst/>
              <a:gdLst>
                <a:gd name="connsiteX0" fmla="*/ 163924 w 249205"/>
                <a:gd name="connsiteY0" fmla="*/ 313757 h 313756"/>
                <a:gd name="connsiteX1" fmla="*/ 83892 w 249205"/>
                <a:gd name="connsiteY1" fmla="*/ 313757 h 313756"/>
                <a:gd name="connsiteX2" fmla="*/ 36213 w 249205"/>
                <a:gd name="connsiteY2" fmla="*/ 302175 h 313756"/>
                <a:gd name="connsiteX3" fmla="*/ 0 w 249205"/>
                <a:gd name="connsiteY3" fmla="*/ 280169 h 313756"/>
                <a:gd name="connsiteX4" fmla="*/ 18222 w 249205"/>
                <a:gd name="connsiteY4" fmla="*/ 247122 h 313756"/>
                <a:gd name="connsiteX5" fmla="*/ 62002 w 249205"/>
                <a:gd name="connsiteY5" fmla="*/ 267738 h 313756"/>
                <a:gd name="connsiteX6" fmla="*/ 87636 w 249205"/>
                <a:gd name="connsiteY6" fmla="*/ 271946 h 313756"/>
                <a:gd name="connsiteX7" fmla="*/ 158325 w 249205"/>
                <a:gd name="connsiteY7" fmla="*/ 271946 h 313756"/>
                <a:gd name="connsiteX8" fmla="*/ 180486 w 249205"/>
                <a:gd name="connsiteY8" fmla="*/ 263607 h 313756"/>
                <a:gd name="connsiteX9" fmla="*/ 195427 w 249205"/>
                <a:gd name="connsiteY9" fmla="*/ 248627 h 313756"/>
                <a:gd name="connsiteX10" fmla="*/ 204384 w 249205"/>
                <a:gd name="connsiteY10" fmla="*/ 228397 h 313756"/>
                <a:gd name="connsiteX11" fmla="*/ 204384 w 249205"/>
                <a:gd name="connsiteY11" fmla="*/ 206623 h 313756"/>
                <a:gd name="connsiteX12" fmla="*/ 183806 w 249205"/>
                <a:gd name="connsiteY12" fmla="*/ 184270 h 313756"/>
                <a:gd name="connsiteX13" fmla="*/ 67986 w 249205"/>
                <a:gd name="connsiteY13" fmla="*/ 173653 h 313756"/>
                <a:gd name="connsiteX14" fmla="*/ 22739 w 249205"/>
                <a:gd name="connsiteY14" fmla="*/ 157013 h 313756"/>
                <a:gd name="connsiteX15" fmla="*/ 6022 w 249205"/>
                <a:gd name="connsiteY15" fmla="*/ 105898 h 313756"/>
                <a:gd name="connsiteX16" fmla="*/ 6022 w 249205"/>
                <a:gd name="connsiteY16" fmla="*/ 85900 h 313756"/>
                <a:gd name="connsiteX17" fmla="*/ 25828 w 249205"/>
                <a:gd name="connsiteY17" fmla="*/ 34823 h 313756"/>
                <a:gd name="connsiteX18" fmla="*/ 42081 w 249205"/>
                <a:gd name="connsiteY18" fmla="*/ 18570 h 313756"/>
                <a:gd name="connsiteX19" fmla="*/ 91883 w 249205"/>
                <a:gd name="connsiteY19" fmla="*/ 0 h 313756"/>
                <a:gd name="connsiteX20" fmla="*/ 155700 w 249205"/>
                <a:gd name="connsiteY20" fmla="*/ 0 h 313756"/>
                <a:gd name="connsiteX21" fmla="*/ 202723 w 249205"/>
                <a:gd name="connsiteY21" fmla="*/ 11582 h 313756"/>
                <a:gd name="connsiteX22" fmla="*/ 238937 w 249205"/>
                <a:gd name="connsiteY22" fmla="*/ 33549 h 313756"/>
                <a:gd name="connsiteX23" fmla="*/ 220714 w 249205"/>
                <a:gd name="connsiteY23" fmla="*/ 66597 h 313756"/>
                <a:gd name="connsiteX24" fmla="*/ 176973 w 249205"/>
                <a:gd name="connsiteY24" fmla="*/ 46637 h 313756"/>
                <a:gd name="connsiteX25" fmla="*/ 151299 w 249205"/>
                <a:gd name="connsiteY25" fmla="*/ 41772 h 313756"/>
                <a:gd name="connsiteX26" fmla="*/ 97018 w 249205"/>
                <a:gd name="connsiteY26" fmla="*/ 41772 h 313756"/>
                <a:gd name="connsiteX27" fmla="*/ 74858 w 249205"/>
                <a:gd name="connsiteY27" fmla="*/ 50150 h 313756"/>
                <a:gd name="connsiteX28" fmla="*/ 59878 w 249205"/>
                <a:gd name="connsiteY28" fmla="*/ 65091 h 313756"/>
                <a:gd name="connsiteX29" fmla="*/ 50922 w 249205"/>
                <a:gd name="connsiteY29" fmla="*/ 85359 h 313756"/>
                <a:gd name="connsiteX30" fmla="*/ 50922 w 249205"/>
                <a:gd name="connsiteY30" fmla="*/ 108523 h 313756"/>
                <a:gd name="connsiteX31" fmla="*/ 71537 w 249205"/>
                <a:gd name="connsiteY31" fmla="*/ 130838 h 313756"/>
                <a:gd name="connsiteX32" fmla="*/ 185968 w 249205"/>
                <a:gd name="connsiteY32" fmla="*/ 141494 h 313756"/>
                <a:gd name="connsiteX33" fmla="*/ 234381 w 249205"/>
                <a:gd name="connsiteY33" fmla="*/ 159407 h 313756"/>
                <a:gd name="connsiteX34" fmla="*/ 249206 w 249205"/>
                <a:gd name="connsiteY34" fmla="*/ 206739 h 313756"/>
                <a:gd name="connsiteX35" fmla="*/ 249206 w 249205"/>
                <a:gd name="connsiteY35" fmla="*/ 226737 h 313756"/>
                <a:gd name="connsiteX36" fmla="*/ 229401 w 249205"/>
                <a:gd name="connsiteY36" fmla="*/ 279049 h 313756"/>
                <a:gd name="connsiteX37" fmla="*/ 213109 w 249205"/>
                <a:gd name="connsiteY37" fmla="*/ 295303 h 313756"/>
                <a:gd name="connsiteX38" fmla="*/ 163924 w 249205"/>
                <a:gd name="connsiteY38" fmla="*/ 313757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49205" h="313756">
                  <a:moveTo>
                    <a:pt x="163924" y="313757"/>
                  </a:moveTo>
                  <a:lnTo>
                    <a:pt x="83892" y="313757"/>
                  </a:lnTo>
                  <a:cubicBezTo>
                    <a:pt x="62465" y="313757"/>
                    <a:pt x="52582" y="312097"/>
                    <a:pt x="36213" y="302175"/>
                  </a:cubicBezTo>
                  <a:lnTo>
                    <a:pt x="0" y="280169"/>
                  </a:lnTo>
                  <a:lnTo>
                    <a:pt x="18222" y="247122"/>
                  </a:lnTo>
                  <a:lnTo>
                    <a:pt x="62002" y="267738"/>
                  </a:lnTo>
                  <a:cubicBezTo>
                    <a:pt x="70106" y="271105"/>
                    <a:pt x="78881" y="272545"/>
                    <a:pt x="87636" y="271946"/>
                  </a:cubicBezTo>
                  <a:lnTo>
                    <a:pt x="158325" y="271946"/>
                  </a:lnTo>
                  <a:cubicBezTo>
                    <a:pt x="170487" y="271946"/>
                    <a:pt x="172649" y="270787"/>
                    <a:pt x="180486" y="263607"/>
                  </a:cubicBezTo>
                  <a:lnTo>
                    <a:pt x="195427" y="248627"/>
                  </a:lnTo>
                  <a:cubicBezTo>
                    <a:pt x="202878" y="241176"/>
                    <a:pt x="204384" y="237779"/>
                    <a:pt x="204384" y="228397"/>
                  </a:cubicBezTo>
                  <a:lnTo>
                    <a:pt x="204384" y="206623"/>
                  </a:lnTo>
                  <a:cubicBezTo>
                    <a:pt x="204384" y="190640"/>
                    <a:pt x="200175" y="186046"/>
                    <a:pt x="183806" y="184270"/>
                  </a:cubicBezTo>
                  <a:lnTo>
                    <a:pt x="67986" y="173653"/>
                  </a:lnTo>
                  <a:cubicBezTo>
                    <a:pt x="47370" y="171645"/>
                    <a:pt x="32545" y="166202"/>
                    <a:pt x="22739" y="157013"/>
                  </a:cubicBezTo>
                  <a:cubicBezTo>
                    <a:pt x="11157" y="146281"/>
                    <a:pt x="6022" y="129989"/>
                    <a:pt x="6022" y="105898"/>
                  </a:cubicBezTo>
                  <a:lnTo>
                    <a:pt x="6022" y="85900"/>
                  </a:lnTo>
                  <a:cubicBezTo>
                    <a:pt x="6022" y="60921"/>
                    <a:pt x="8339" y="52312"/>
                    <a:pt x="25828" y="34823"/>
                  </a:cubicBezTo>
                  <a:lnTo>
                    <a:pt x="42081" y="18570"/>
                  </a:lnTo>
                  <a:cubicBezTo>
                    <a:pt x="57137" y="4169"/>
                    <a:pt x="68334" y="0"/>
                    <a:pt x="91883" y="0"/>
                  </a:cubicBezTo>
                  <a:lnTo>
                    <a:pt x="155700" y="0"/>
                  </a:lnTo>
                  <a:cubicBezTo>
                    <a:pt x="177204" y="0"/>
                    <a:pt x="187049" y="1660"/>
                    <a:pt x="202723" y="11582"/>
                  </a:cubicBezTo>
                  <a:lnTo>
                    <a:pt x="238937" y="33549"/>
                  </a:lnTo>
                  <a:lnTo>
                    <a:pt x="220714" y="66597"/>
                  </a:lnTo>
                  <a:lnTo>
                    <a:pt x="176973" y="46637"/>
                  </a:lnTo>
                  <a:cubicBezTo>
                    <a:pt x="168917" y="43018"/>
                    <a:pt x="160121" y="41352"/>
                    <a:pt x="151299" y="41772"/>
                  </a:cubicBezTo>
                  <a:lnTo>
                    <a:pt x="97018" y="41772"/>
                  </a:lnTo>
                  <a:cubicBezTo>
                    <a:pt x="84819" y="41772"/>
                    <a:pt x="82657" y="42931"/>
                    <a:pt x="74858" y="50150"/>
                  </a:cubicBezTo>
                  <a:lnTo>
                    <a:pt x="59878" y="65091"/>
                  </a:lnTo>
                  <a:cubicBezTo>
                    <a:pt x="52427" y="72542"/>
                    <a:pt x="50922" y="75978"/>
                    <a:pt x="50922" y="85359"/>
                  </a:cubicBezTo>
                  <a:lnTo>
                    <a:pt x="50922" y="108523"/>
                  </a:lnTo>
                  <a:cubicBezTo>
                    <a:pt x="50922" y="124507"/>
                    <a:pt x="55168" y="129101"/>
                    <a:pt x="71537" y="130838"/>
                  </a:cubicBezTo>
                  <a:lnTo>
                    <a:pt x="185968" y="141494"/>
                  </a:lnTo>
                  <a:cubicBezTo>
                    <a:pt x="210175" y="144042"/>
                    <a:pt x="224189" y="149215"/>
                    <a:pt x="234381" y="159407"/>
                  </a:cubicBezTo>
                  <a:cubicBezTo>
                    <a:pt x="244573" y="169599"/>
                    <a:pt x="249206" y="184540"/>
                    <a:pt x="249206" y="206739"/>
                  </a:cubicBezTo>
                  <a:lnTo>
                    <a:pt x="249206" y="226737"/>
                  </a:lnTo>
                  <a:cubicBezTo>
                    <a:pt x="249206" y="254997"/>
                    <a:pt x="246619" y="261831"/>
                    <a:pt x="229401" y="279049"/>
                  </a:cubicBezTo>
                  <a:lnTo>
                    <a:pt x="213109" y="295303"/>
                  </a:lnTo>
                  <a:cubicBezTo>
                    <a:pt x="198709" y="309587"/>
                    <a:pt x="187744" y="313757"/>
                    <a:pt x="163924" y="313757"/>
                  </a:cubicBezTo>
                  <a:close/>
                </a:path>
              </a:pathLst>
            </a:custGeom>
            <a:grpFill/>
            <a:ln w="3861"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6506683F-AED7-EDE4-A9C8-EF96B98476EC}"/>
                </a:ext>
              </a:extLst>
            </p:cNvPr>
            <p:cNvSpPr/>
            <p:nvPr/>
          </p:nvSpPr>
          <p:spPr>
            <a:xfrm>
              <a:off x="9084661" y="7230782"/>
              <a:ext cx="264302" cy="313756"/>
            </a:xfrm>
            <a:custGeom>
              <a:avLst/>
              <a:gdLst>
                <a:gd name="connsiteX0" fmla="*/ 177900 w 264302"/>
                <a:gd name="connsiteY0" fmla="*/ 313757 h 313756"/>
                <a:gd name="connsiteX1" fmla="*/ 85244 w 264302"/>
                <a:gd name="connsiteY1" fmla="*/ 313757 h 313756"/>
                <a:gd name="connsiteX2" fmla="*/ 36059 w 264302"/>
                <a:gd name="connsiteY2" fmla="*/ 295187 h 313756"/>
                <a:gd name="connsiteX3" fmla="*/ 19806 w 264302"/>
                <a:gd name="connsiteY3" fmla="*/ 278934 h 313756"/>
                <a:gd name="connsiteX4" fmla="*/ 0 w 264302"/>
                <a:gd name="connsiteY4" fmla="*/ 226621 h 313756"/>
                <a:gd name="connsiteX5" fmla="*/ 0 w 264302"/>
                <a:gd name="connsiteY5" fmla="*/ 87135 h 313756"/>
                <a:gd name="connsiteX6" fmla="*/ 19806 w 264302"/>
                <a:gd name="connsiteY6" fmla="*/ 34823 h 313756"/>
                <a:gd name="connsiteX7" fmla="*/ 36059 w 264302"/>
                <a:gd name="connsiteY7" fmla="*/ 18570 h 313756"/>
                <a:gd name="connsiteX8" fmla="*/ 85244 w 264302"/>
                <a:gd name="connsiteY8" fmla="*/ 0 h 313756"/>
                <a:gd name="connsiteX9" fmla="*/ 179058 w 264302"/>
                <a:gd name="connsiteY9" fmla="*/ 0 h 313756"/>
                <a:gd name="connsiteX10" fmla="*/ 228243 w 264302"/>
                <a:gd name="connsiteY10" fmla="*/ 18570 h 313756"/>
                <a:gd name="connsiteX11" fmla="*/ 244497 w 264302"/>
                <a:gd name="connsiteY11" fmla="*/ 34823 h 313756"/>
                <a:gd name="connsiteX12" fmla="*/ 264302 w 264302"/>
                <a:gd name="connsiteY12" fmla="*/ 87135 h 313756"/>
                <a:gd name="connsiteX13" fmla="*/ 264302 w 264302"/>
                <a:gd name="connsiteY13" fmla="*/ 155315 h 313756"/>
                <a:gd name="connsiteX14" fmla="*/ 243493 w 264302"/>
                <a:gd name="connsiteY14" fmla="*/ 177398 h 313756"/>
                <a:gd name="connsiteX15" fmla="*/ 46020 w 264302"/>
                <a:gd name="connsiteY15" fmla="*/ 177398 h 313756"/>
                <a:gd name="connsiteX16" fmla="*/ 46020 w 264302"/>
                <a:gd name="connsiteY16" fmla="*/ 229131 h 313756"/>
                <a:gd name="connsiteX17" fmla="*/ 54977 w 264302"/>
                <a:gd name="connsiteY17" fmla="*/ 249361 h 313756"/>
                <a:gd name="connsiteX18" fmla="*/ 69377 w 264302"/>
                <a:gd name="connsiteY18" fmla="*/ 263761 h 313756"/>
                <a:gd name="connsiteX19" fmla="*/ 91499 w 264302"/>
                <a:gd name="connsiteY19" fmla="*/ 272062 h 313756"/>
                <a:gd name="connsiteX20" fmla="*/ 175314 w 264302"/>
                <a:gd name="connsiteY20" fmla="*/ 272062 h 313756"/>
                <a:gd name="connsiteX21" fmla="*/ 201644 w 264302"/>
                <a:gd name="connsiteY21" fmla="*/ 267197 h 313756"/>
                <a:gd name="connsiteX22" fmla="*/ 241562 w 264302"/>
                <a:gd name="connsiteY22" fmla="*/ 247894 h 313756"/>
                <a:gd name="connsiteX23" fmla="*/ 260442 w 264302"/>
                <a:gd name="connsiteY23" fmla="*/ 280323 h 313756"/>
                <a:gd name="connsiteX24" fmla="*/ 224228 w 264302"/>
                <a:gd name="connsiteY24" fmla="*/ 302329 h 313756"/>
                <a:gd name="connsiteX25" fmla="*/ 177900 w 264302"/>
                <a:gd name="connsiteY25" fmla="*/ 313757 h 313756"/>
                <a:gd name="connsiteX26" fmla="*/ 46097 w 264302"/>
                <a:gd name="connsiteY26" fmla="*/ 137131 h 313756"/>
                <a:gd name="connsiteX27" fmla="*/ 218978 w 264302"/>
                <a:gd name="connsiteY27" fmla="*/ 137131 h 313756"/>
                <a:gd name="connsiteX28" fmla="*/ 218978 w 264302"/>
                <a:gd name="connsiteY28" fmla="*/ 84008 h 313756"/>
                <a:gd name="connsiteX29" fmla="*/ 209365 w 264302"/>
                <a:gd name="connsiteY29" fmla="*/ 63778 h 313756"/>
                <a:gd name="connsiteX30" fmla="*/ 195003 w 264302"/>
                <a:gd name="connsiteY30" fmla="*/ 49378 h 313756"/>
                <a:gd name="connsiteX31" fmla="*/ 172881 w 264302"/>
                <a:gd name="connsiteY31" fmla="*/ 41077 h 313756"/>
                <a:gd name="connsiteX32" fmla="*/ 91576 w 264302"/>
                <a:gd name="connsiteY32" fmla="*/ 41077 h 313756"/>
                <a:gd name="connsiteX33" fmla="*/ 69416 w 264302"/>
                <a:gd name="connsiteY33" fmla="*/ 49417 h 313756"/>
                <a:gd name="connsiteX34" fmla="*/ 55053 w 264302"/>
                <a:gd name="connsiteY34" fmla="*/ 63778 h 313756"/>
                <a:gd name="connsiteX35" fmla="*/ 46097 w 264302"/>
                <a:gd name="connsiteY35" fmla="*/ 84008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4302" h="313756">
                  <a:moveTo>
                    <a:pt x="177900" y="313757"/>
                  </a:moveTo>
                  <a:lnTo>
                    <a:pt x="85244" y="313757"/>
                  </a:lnTo>
                  <a:cubicBezTo>
                    <a:pt x="61501" y="313757"/>
                    <a:pt x="50498" y="309587"/>
                    <a:pt x="36059" y="295187"/>
                  </a:cubicBezTo>
                  <a:lnTo>
                    <a:pt x="19806" y="278934"/>
                  </a:lnTo>
                  <a:cubicBezTo>
                    <a:pt x="2587" y="261715"/>
                    <a:pt x="0" y="254882"/>
                    <a:pt x="0" y="226621"/>
                  </a:cubicBezTo>
                  <a:lnTo>
                    <a:pt x="0" y="87135"/>
                  </a:lnTo>
                  <a:cubicBezTo>
                    <a:pt x="0" y="58914"/>
                    <a:pt x="2587" y="52042"/>
                    <a:pt x="19806" y="34823"/>
                  </a:cubicBezTo>
                  <a:lnTo>
                    <a:pt x="36059" y="18570"/>
                  </a:lnTo>
                  <a:cubicBezTo>
                    <a:pt x="50459" y="4169"/>
                    <a:pt x="61501" y="0"/>
                    <a:pt x="85244" y="0"/>
                  </a:cubicBezTo>
                  <a:lnTo>
                    <a:pt x="179058" y="0"/>
                  </a:lnTo>
                  <a:cubicBezTo>
                    <a:pt x="202801" y="0"/>
                    <a:pt x="213804" y="4169"/>
                    <a:pt x="228243" y="18570"/>
                  </a:cubicBezTo>
                  <a:lnTo>
                    <a:pt x="244497" y="34823"/>
                  </a:lnTo>
                  <a:cubicBezTo>
                    <a:pt x="261715" y="52042"/>
                    <a:pt x="264302" y="58914"/>
                    <a:pt x="264302" y="87135"/>
                  </a:cubicBezTo>
                  <a:lnTo>
                    <a:pt x="264302" y="155315"/>
                  </a:lnTo>
                  <a:cubicBezTo>
                    <a:pt x="264302" y="169561"/>
                    <a:pt x="256928" y="177398"/>
                    <a:pt x="243493" y="177398"/>
                  </a:cubicBezTo>
                  <a:lnTo>
                    <a:pt x="46020" y="177398"/>
                  </a:lnTo>
                  <a:lnTo>
                    <a:pt x="46020" y="229131"/>
                  </a:lnTo>
                  <a:cubicBezTo>
                    <a:pt x="46020" y="238512"/>
                    <a:pt x="47525" y="241910"/>
                    <a:pt x="54977" y="249361"/>
                  </a:cubicBezTo>
                  <a:lnTo>
                    <a:pt x="69377" y="263761"/>
                  </a:lnTo>
                  <a:cubicBezTo>
                    <a:pt x="77098" y="271482"/>
                    <a:pt x="79260" y="272062"/>
                    <a:pt x="91499" y="272062"/>
                  </a:cubicBezTo>
                  <a:lnTo>
                    <a:pt x="175314" y="272062"/>
                  </a:lnTo>
                  <a:cubicBezTo>
                    <a:pt x="184345" y="272456"/>
                    <a:pt x="193349" y="270793"/>
                    <a:pt x="201644" y="267197"/>
                  </a:cubicBezTo>
                  <a:lnTo>
                    <a:pt x="241562" y="247894"/>
                  </a:lnTo>
                  <a:lnTo>
                    <a:pt x="260442" y="280323"/>
                  </a:lnTo>
                  <a:lnTo>
                    <a:pt x="224228" y="302329"/>
                  </a:lnTo>
                  <a:cubicBezTo>
                    <a:pt x="209365" y="311595"/>
                    <a:pt x="200717" y="313757"/>
                    <a:pt x="177900" y="313757"/>
                  </a:cubicBezTo>
                  <a:close/>
                  <a:moveTo>
                    <a:pt x="46097" y="137131"/>
                  </a:moveTo>
                  <a:lnTo>
                    <a:pt x="218978" y="137131"/>
                  </a:lnTo>
                  <a:lnTo>
                    <a:pt x="218978" y="84008"/>
                  </a:lnTo>
                  <a:cubicBezTo>
                    <a:pt x="218978" y="74704"/>
                    <a:pt x="216932" y="71307"/>
                    <a:pt x="209365" y="63778"/>
                  </a:cubicBezTo>
                  <a:lnTo>
                    <a:pt x="195003" y="49378"/>
                  </a:lnTo>
                  <a:cubicBezTo>
                    <a:pt x="187281" y="42236"/>
                    <a:pt x="185081" y="41077"/>
                    <a:pt x="172881" y="41077"/>
                  </a:cubicBezTo>
                  <a:lnTo>
                    <a:pt x="91576" y="41077"/>
                  </a:lnTo>
                  <a:cubicBezTo>
                    <a:pt x="79376" y="41077"/>
                    <a:pt x="77213" y="42236"/>
                    <a:pt x="69416" y="49417"/>
                  </a:cubicBezTo>
                  <a:lnTo>
                    <a:pt x="55053" y="63778"/>
                  </a:lnTo>
                  <a:cubicBezTo>
                    <a:pt x="47602" y="71229"/>
                    <a:pt x="46097" y="74627"/>
                    <a:pt x="46097" y="84008"/>
                  </a:cubicBezTo>
                  <a:close/>
                </a:path>
              </a:pathLst>
            </a:custGeom>
            <a:grpFill/>
            <a:ln w="3861"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6F99DF44-B928-60DD-CB5D-0C821DE0478F}"/>
                </a:ext>
              </a:extLst>
            </p:cNvPr>
            <p:cNvSpPr/>
            <p:nvPr/>
          </p:nvSpPr>
          <p:spPr>
            <a:xfrm>
              <a:off x="9578865" y="7234566"/>
              <a:ext cx="450038" cy="310012"/>
            </a:xfrm>
            <a:custGeom>
              <a:avLst/>
              <a:gdLst>
                <a:gd name="connsiteX0" fmla="*/ 332868 w 450038"/>
                <a:gd name="connsiteY0" fmla="*/ 309973 h 310012"/>
                <a:gd name="connsiteX1" fmla="*/ 319124 w 450038"/>
                <a:gd name="connsiteY1" fmla="*/ 309973 h 310012"/>
                <a:gd name="connsiteX2" fmla="*/ 291018 w 450038"/>
                <a:gd name="connsiteY2" fmla="*/ 294955 h 310012"/>
                <a:gd name="connsiteX3" fmla="*/ 224653 w 450038"/>
                <a:gd name="connsiteY3" fmla="*/ 202840 h 310012"/>
                <a:gd name="connsiteX4" fmla="*/ 159022 w 450038"/>
                <a:gd name="connsiteY4" fmla="*/ 295033 h 310012"/>
                <a:gd name="connsiteX5" fmla="*/ 130916 w 450038"/>
                <a:gd name="connsiteY5" fmla="*/ 310012 h 310012"/>
                <a:gd name="connsiteX6" fmla="*/ 117172 w 450038"/>
                <a:gd name="connsiteY6" fmla="*/ 310012 h 310012"/>
                <a:gd name="connsiteX7" fmla="*/ 89105 w 450038"/>
                <a:gd name="connsiteY7" fmla="*/ 294994 h 310012"/>
                <a:gd name="connsiteX8" fmla="*/ 20925 w 450038"/>
                <a:gd name="connsiteY8" fmla="*/ 199944 h 310012"/>
                <a:gd name="connsiteX9" fmla="*/ 0 w 450038"/>
                <a:gd name="connsiteY9" fmla="*/ 140297 h 310012"/>
                <a:gd name="connsiteX10" fmla="*/ 0 w 450038"/>
                <a:gd name="connsiteY10" fmla="*/ 0 h 310012"/>
                <a:gd name="connsiteX11" fmla="*/ 46058 w 450038"/>
                <a:gd name="connsiteY11" fmla="*/ 0 h 310012"/>
                <a:gd name="connsiteX12" fmla="*/ 46058 w 450038"/>
                <a:gd name="connsiteY12" fmla="*/ 144042 h 310012"/>
                <a:gd name="connsiteX13" fmla="*/ 55826 w 450038"/>
                <a:gd name="connsiteY13" fmla="*/ 174464 h 310012"/>
                <a:gd name="connsiteX14" fmla="*/ 123967 w 450038"/>
                <a:gd name="connsiteY14" fmla="*/ 268471 h 310012"/>
                <a:gd name="connsiteX15" fmla="*/ 192223 w 450038"/>
                <a:gd name="connsiteY15" fmla="*/ 174425 h 310012"/>
                <a:gd name="connsiteX16" fmla="*/ 201952 w 450038"/>
                <a:gd name="connsiteY16" fmla="*/ 144003 h 310012"/>
                <a:gd name="connsiteX17" fmla="*/ 201952 w 450038"/>
                <a:gd name="connsiteY17" fmla="*/ 0 h 310012"/>
                <a:gd name="connsiteX18" fmla="*/ 248009 w 450038"/>
                <a:gd name="connsiteY18" fmla="*/ 0 h 310012"/>
                <a:gd name="connsiteX19" fmla="*/ 248009 w 450038"/>
                <a:gd name="connsiteY19" fmla="*/ 144042 h 310012"/>
                <a:gd name="connsiteX20" fmla="*/ 257738 w 450038"/>
                <a:gd name="connsiteY20" fmla="*/ 174464 h 310012"/>
                <a:gd name="connsiteX21" fmla="*/ 325996 w 450038"/>
                <a:gd name="connsiteY21" fmla="*/ 268471 h 310012"/>
                <a:gd name="connsiteX22" fmla="*/ 394252 w 450038"/>
                <a:gd name="connsiteY22" fmla="*/ 174425 h 310012"/>
                <a:gd name="connsiteX23" fmla="*/ 403981 w 450038"/>
                <a:gd name="connsiteY23" fmla="*/ 144003 h 310012"/>
                <a:gd name="connsiteX24" fmla="*/ 403981 w 450038"/>
                <a:gd name="connsiteY24" fmla="*/ 0 h 310012"/>
                <a:gd name="connsiteX25" fmla="*/ 450039 w 450038"/>
                <a:gd name="connsiteY25" fmla="*/ 0 h 310012"/>
                <a:gd name="connsiteX26" fmla="*/ 450039 w 450038"/>
                <a:gd name="connsiteY26" fmla="*/ 140258 h 310012"/>
                <a:gd name="connsiteX27" fmla="*/ 429114 w 450038"/>
                <a:gd name="connsiteY27" fmla="*/ 199906 h 310012"/>
                <a:gd name="connsiteX28" fmla="*/ 360934 w 450038"/>
                <a:gd name="connsiteY28" fmla="*/ 294994 h 310012"/>
                <a:gd name="connsiteX29" fmla="*/ 332868 w 450038"/>
                <a:gd name="connsiteY29" fmla="*/ 309973 h 31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0038" h="310012">
                  <a:moveTo>
                    <a:pt x="332868" y="309973"/>
                  </a:moveTo>
                  <a:lnTo>
                    <a:pt x="319124" y="309973"/>
                  </a:lnTo>
                  <a:cubicBezTo>
                    <a:pt x="307194" y="309973"/>
                    <a:pt x="299820" y="307734"/>
                    <a:pt x="291018" y="294955"/>
                  </a:cubicBezTo>
                  <a:lnTo>
                    <a:pt x="224653" y="202840"/>
                  </a:lnTo>
                  <a:lnTo>
                    <a:pt x="159022" y="295033"/>
                  </a:lnTo>
                  <a:cubicBezTo>
                    <a:pt x="150065" y="307773"/>
                    <a:pt x="142845" y="310012"/>
                    <a:pt x="130916" y="310012"/>
                  </a:cubicBezTo>
                  <a:lnTo>
                    <a:pt x="117172" y="310012"/>
                  </a:lnTo>
                  <a:cubicBezTo>
                    <a:pt x="105242" y="310012"/>
                    <a:pt x="97868" y="307773"/>
                    <a:pt x="89105" y="294994"/>
                  </a:cubicBezTo>
                  <a:lnTo>
                    <a:pt x="20925" y="199944"/>
                  </a:lnTo>
                  <a:cubicBezTo>
                    <a:pt x="6177" y="179058"/>
                    <a:pt x="0" y="166163"/>
                    <a:pt x="0" y="140297"/>
                  </a:cubicBezTo>
                  <a:lnTo>
                    <a:pt x="0" y="0"/>
                  </a:lnTo>
                  <a:lnTo>
                    <a:pt x="46058" y="0"/>
                  </a:lnTo>
                  <a:lnTo>
                    <a:pt x="46058" y="144042"/>
                  </a:lnTo>
                  <a:cubicBezTo>
                    <a:pt x="46058" y="157207"/>
                    <a:pt x="47024" y="161917"/>
                    <a:pt x="55826" y="174464"/>
                  </a:cubicBezTo>
                  <a:lnTo>
                    <a:pt x="123967" y="268471"/>
                  </a:lnTo>
                  <a:lnTo>
                    <a:pt x="192223" y="174425"/>
                  </a:lnTo>
                  <a:cubicBezTo>
                    <a:pt x="200987" y="161878"/>
                    <a:pt x="201952" y="157168"/>
                    <a:pt x="201952" y="144003"/>
                  </a:cubicBezTo>
                  <a:lnTo>
                    <a:pt x="201952" y="0"/>
                  </a:lnTo>
                  <a:lnTo>
                    <a:pt x="248009" y="0"/>
                  </a:lnTo>
                  <a:lnTo>
                    <a:pt x="248009" y="144042"/>
                  </a:lnTo>
                  <a:cubicBezTo>
                    <a:pt x="248009" y="157207"/>
                    <a:pt x="248975" y="161917"/>
                    <a:pt x="257738" y="174464"/>
                  </a:cubicBezTo>
                  <a:lnTo>
                    <a:pt x="325996" y="268471"/>
                  </a:lnTo>
                  <a:lnTo>
                    <a:pt x="394252" y="174425"/>
                  </a:lnTo>
                  <a:cubicBezTo>
                    <a:pt x="403016" y="161878"/>
                    <a:pt x="403981" y="157168"/>
                    <a:pt x="403981" y="144003"/>
                  </a:cubicBezTo>
                  <a:lnTo>
                    <a:pt x="403981" y="0"/>
                  </a:lnTo>
                  <a:lnTo>
                    <a:pt x="450039" y="0"/>
                  </a:lnTo>
                  <a:lnTo>
                    <a:pt x="450039" y="140258"/>
                  </a:lnTo>
                  <a:cubicBezTo>
                    <a:pt x="450039" y="166125"/>
                    <a:pt x="443862" y="178865"/>
                    <a:pt x="429114" y="199906"/>
                  </a:cubicBezTo>
                  <a:lnTo>
                    <a:pt x="360934" y="294994"/>
                  </a:lnTo>
                  <a:cubicBezTo>
                    <a:pt x="352017" y="307734"/>
                    <a:pt x="344758" y="309973"/>
                    <a:pt x="332868" y="309973"/>
                  </a:cubicBezTo>
                  <a:close/>
                </a:path>
              </a:pathLst>
            </a:custGeom>
            <a:grpFill/>
            <a:ln w="3861"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4C6FDE8F-C023-E278-9B42-E30990AF4173}"/>
                </a:ext>
              </a:extLst>
            </p:cNvPr>
            <p:cNvSpPr/>
            <p:nvPr/>
          </p:nvSpPr>
          <p:spPr>
            <a:xfrm>
              <a:off x="10097199" y="7230782"/>
              <a:ext cx="264340" cy="313756"/>
            </a:xfrm>
            <a:custGeom>
              <a:avLst/>
              <a:gdLst>
                <a:gd name="connsiteX0" fmla="*/ 177900 w 264340"/>
                <a:gd name="connsiteY0" fmla="*/ 313757 h 313756"/>
                <a:gd name="connsiteX1" fmla="*/ 85244 w 264340"/>
                <a:gd name="connsiteY1" fmla="*/ 313757 h 313756"/>
                <a:gd name="connsiteX2" fmla="*/ 36098 w 264340"/>
                <a:gd name="connsiteY2" fmla="*/ 295187 h 313756"/>
                <a:gd name="connsiteX3" fmla="*/ 19806 w 264340"/>
                <a:gd name="connsiteY3" fmla="*/ 278934 h 313756"/>
                <a:gd name="connsiteX4" fmla="*/ 0 w 264340"/>
                <a:gd name="connsiteY4" fmla="*/ 226621 h 313756"/>
                <a:gd name="connsiteX5" fmla="*/ 0 w 264340"/>
                <a:gd name="connsiteY5" fmla="*/ 87135 h 313756"/>
                <a:gd name="connsiteX6" fmla="*/ 19806 w 264340"/>
                <a:gd name="connsiteY6" fmla="*/ 34823 h 313756"/>
                <a:gd name="connsiteX7" fmla="*/ 36098 w 264340"/>
                <a:gd name="connsiteY7" fmla="*/ 18570 h 313756"/>
                <a:gd name="connsiteX8" fmla="*/ 85244 w 264340"/>
                <a:gd name="connsiteY8" fmla="*/ 0 h 313756"/>
                <a:gd name="connsiteX9" fmla="*/ 179097 w 264340"/>
                <a:gd name="connsiteY9" fmla="*/ 0 h 313756"/>
                <a:gd name="connsiteX10" fmla="*/ 228243 w 264340"/>
                <a:gd name="connsiteY10" fmla="*/ 18570 h 313756"/>
                <a:gd name="connsiteX11" fmla="*/ 244535 w 264340"/>
                <a:gd name="connsiteY11" fmla="*/ 34823 h 313756"/>
                <a:gd name="connsiteX12" fmla="*/ 264341 w 264340"/>
                <a:gd name="connsiteY12" fmla="*/ 87135 h 313756"/>
                <a:gd name="connsiteX13" fmla="*/ 264341 w 264340"/>
                <a:gd name="connsiteY13" fmla="*/ 155315 h 313756"/>
                <a:gd name="connsiteX14" fmla="*/ 243493 w 264340"/>
                <a:gd name="connsiteY14" fmla="*/ 177398 h 313756"/>
                <a:gd name="connsiteX15" fmla="*/ 46058 w 264340"/>
                <a:gd name="connsiteY15" fmla="*/ 177398 h 313756"/>
                <a:gd name="connsiteX16" fmla="*/ 46058 w 264340"/>
                <a:gd name="connsiteY16" fmla="*/ 229131 h 313756"/>
                <a:gd name="connsiteX17" fmla="*/ 55015 w 264340"/>
                <a:gd name="connsiteY17" fmla="*/ 249361 h 313756"/>
                <a:gd name="connsiteX18" fmla="*/ 69415 w 264340"/>
                <a:gd name="connsiteY18" fmla="*/ 263761 h 313756"/>
                <a:gd name="connsiteX19" fmla="*/ 91499 w 264340"/>
                <a:gd name="connsiteY19" fmla="*/ 272062 h 313756"/>
                <a:gd name="connsiteX20" fmla="*/ 175314 w 264340"/>
                <a:gd name="connsiteY20" fmla="*/ 272062 h 313756"/>
                <a:gd name="connsiteX21" fmla="*/ 201644 w 264340"/>
                <a:gd name="connsiteY21" fmla="*/ 267197 h 313756"/>
                <a:gd name="connsiteX22" fmla="*/ 241562 w 264340"/>
                <a:gd name="connsiteY22" fmla="*/ 247894 h 313756"/>
                <a:gd name="connsiteX23" fmla="*/ 260480 w 264340"/>
                <a:gd name="connsiteY23" fmla="*/ 280323 h 313756"/>
                <a:gd name="connsiteX24" fmla="*/ 224228 w 264340"/>
                <a:gd name="connsiteY24" fmla="*/ 302329 h 313756"/>
                <a:gd name="connsiteX25" fmla="*/ 177900 w 264340"/>
                <a:gd name="connsiteY25" fmla="*/ 313757 h 313756"/>
                <a:gd name="connsiteX26" fmla="*/ 46136 w 264340"/>
                <a:gd name="connsiteY26" fmla="*/ 137131 h 313756"/>
                <a:gd name="connsiteX27" fmla="*/ 218978 w 264340"/>
                <a:gd name="connsiteY27" fmla="*/ 137131 h 313756"/>
                <a:gd name="connsiteX28" fmla="*/ 218978 w 264340"/>
                <a:gd name="connsiteY28" fmla="*/ 84008 h 313756"/>
                <a:gd name="connsiteX29" fmla="*/ 209403 w 264340"/>
                <a:gd name="connsiteY29" fmla="*/ 63778 h 313756"/>
                <a:gd name="connsiteX30" fmla="*/ 195003 w 264340"/>
                <a:gd name="connsiteY30" fmla="*/ 49378 h 313756"/>
                <a:gd name="connsiteX31" fmla="*/ 172881 w 264340"/>
                <a:gd name="connsiteY31" fmla="*/ 41077 h 313756"/>
                <a:gd name="connsiteX32" fmla="*/ 91576 w 264340"/>
                <a:gd name="connsiteY32" fmla="*/ 41077 h 313756"/>
                <a:gd name="connsiteX33" fmla="*/ 69415 w 264340"/>
                <a:gd name="connsiteY33" fmla="*/ 49417 h 313756"/>
                <a:gd name="connsiteX34" fmla="*/ 55092 w 264340"/>
                <a:gd name="connsiteY34" fmla="*/ 63778 h 313756"/>
                <a:gd name="connsiteX35" fmla="*/ 46136 w 264340"/>
                <a:gd name="connsiteY35" fmla="*/ 84008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4340" h="313756">
                  <a:moveTo>
                    <a:pt x="177900" y="313757"/>
                  </a:moveTo>
                  <a:lnTo>
                    <a:pt x="85244" y="313757"/>
                  </a:lnTo>
                  <a:cubicBezTo>
                    <a:pt x="61501" y="313757"/>
                    <a:pt x="50498" y="309587"/>
                    <a:pt x="36098" y="295187"/>
                  </a:cubicBezTo>
                  <a:lnTo>
                    <a:pt x="19806" y="278934"/>
                  </a:lnTo>
                  <a:cubicBezTo>
                    <a:pt x="2587" y="261715"/>
                    <a:pt x="0" y="254882"/>
                    <a:pt x="0" y="226621"/>
                  </a:cubicBezTo>
                  <a:lnTo>
                    <a:pt x="0" y="87135"/>
                  </a:lnTo>
                  <a:cubicBezTo>
                    <a:pt x="0" y="58914"/>
                    <a:pt x="2587" y="52042"/>
                    <a:pt x="19806" y="34823"/>
                  </a:cubicBezTo>
                  <a:lnTo>
                    <a:pt x="36098" y="18570"/>
                  </a:lnTo>
                  <a:cubicBezTo>
                    <a:pt x="50459" y="4169"/>
                    <a:pt x="61501" y="0"/>
                    <a:pt x="85244" y="0"/>
                  </a:cubicBezTo>
                  <a:lnTo>
                    <a:pt x="179097" y="0"/>
                  </a:lnTo>
                  <a:cubicBezTo>
                    <a:pt x="202840" y="0"/>
                    <a:pt x="213843" y="4169"/>
                    <a:pt x="228243" y="18570"/>
                  </a:cubicBezTo>
                  <a:lnTo>
                    <a:pt x="244535" y="34823"/>
                  </a:lnTo>
                  <a:cubicBezTo>
                    <a:pt x="261754" y="52042"/>
                    <a:pt x="264341" y="58914"/>
                    <a:pt x="264341" y="87135"/>
                  </a:cubicBezTo>
                  <a:lnTo>
                    <a:pt x="264341" y="155315"/>
                  </a:lnTo>
                  <a:cubicBezTo>
                    <a:pt x="264341" y="169561"/>
                    <a:pt x="256928" y="177398"/>
                    <a:pt x="243493" y="177398"/>
                  </a:cubicBezTo>
                  <a:lnTo>
                    <a:pt x="46058" y="177398"/>
                  </a:lnTo>
                  <a:lnTo>
                    <a:pt x="46058" y="229131"/>
                  </a:lnTo>
                  <a:cubicBezTo>
                    <a:pt x="46058" y="238512"/>
                    <a:pt x="47564" y="241910"/>
                    <a:pt x="55015" y="249361"/>
                  </a:cubicBezTo>
                  <a:lnTo>
                    <a:pt x="69415" y="263761"/>
                  </a:lnTo>
                  <a:cubicBezTo>
                    <a:pt x="77136" y="271482"/>
                    <a:pt x="79298" y="272062"/>
                    <a:pt x="91499" y="272062"/>
                  </a:cubicBezTo>
                  <a:lnTo>
                    <a:pt x="175314" y="272062"/>
                  </a:lnTo>
                  <a:cubicBezTo>
                    <a:pt x="184345" y="272456"/>
                    <a:pt x="193349" y="270793"/>
                    <a:pt x="201644" y="267197"/>
                  </a:cubicBezTo>
                  <a:lnTo>
                    <a:pt x="241562" y="247894"/>
                  </a:lnTo>
                  <a:lnTo>
                    <a:pt x="260480" y="280323"/>
                  </a:lnTo>
                  <a:lnTo>
                    <a:pt x="224228" y="302329"/>
                  </a:lnTo>
                  <a:cubicBezTo>
                    <a:pt x="209403" y="311595"/>
                    <a:pt x="200716" y="313757"/>
                    <a:pt x="177900" y="313757"/>
                  </a:cubicBezTo>
                  <a:close/>
                  <a:moveTo>
                    <a:pt x="46136" y="137131"/>
                  </a:moveTo>
                  <a:lnTo>
                    <a:pt x="218978" y="137131"/>
                  </a:lnTo>
                  <a:lnTo>
                    <a:pt x="218978" y="84008"/>
                  </a:lnTo>
                  <a:cubicBezTo>
                    <a:pt x="218978" y="74704"/>
                    <a:pt x="216932" y="71307"/>
                    <a:pt x="209403" y="63778"/>
                  </a:cubicBezTo>
                  <a:lnTo>
                    <a:pt x="195003" y="49378"/>
                  </a:lnTo>
                  <a:cubicBezTo>
                    <a:pt x="187281" y="42236"/>
                    <a:pt x="185081" y="41077"/>
                    <a:pt x="172881" y="41077"/>
                  </a:cubicBezTo>
                  <a:lnTo>
                    <a:pt x="91576" y="41077"/>
                  </a:lnTo>
                  <a:cubicBezTo>
                    <a:pt x="79414" y="41077"/>
                    <a:pt x="77252" y="42236"/>
                    <a:pt x="69415" y="49417"/>
                  </a:cubicBezTo>
                  <a:lnTo>
                    <a:pt x="55092" y="63778"/>
                  </a:lnTo>
                  <a:cubicBezTo>
                    <a:pt x="47641" y="71229"/>
                    <a:pt x="46136" y="74627"/>
                    <a:pt x="46136" y="84008"/>
                  </a:cubicBezTo>
                  <a:close/>
                </a:path>
              </a:pathLst>
            </a:custGeom>
            <a:grpFill/>
            <a:ln w="3861"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C7C3989D-4DBE-9CE3-EADA-4C2EE74F4B2A}"/>
                </a:ext>
              </a:extLst>
            </p:cNvPr>
            <p:cNvSpPr/>
            <p:nvPr/>
          </p:nvSpPr>
          <p:spPr>
            <a:xfrm>
              <a:off x="10593372" y="7230782"/>
              <a:ext cx="250982" cy="313756"/>
            </a:xfrm>
            <a:custGeom>
              <a:avLst/>
              <a:gdLst>
                <a:gd name="connsiteX0" fmla="*/ 168326 w 250982"/>
                <a:gd name="connsiteY0" fmla="*/ 313757 h 313756"/>
                <a:gd name="connsiteX1" fmla="*/ 85244 w 250982"/>
                <a:gd name="connsiteY1" fmla="*/ 313757 h 313756"/>
                <a:gd name="connsiteX2" fmla="*/ 36059 w 250982"/>
                <a:gd name="connsiteY2" fmla="*/ 295187 h 313756"/>
                <a:gd name="connsiteX3" fmla="*/ 19806 w 250982"/>
                <a:gd name="connsiteY3" fmla="*/ 278934 h 313756"/>
                <a:gd name="connsiteX4" fmla="*/ 0 w 250982"/>
                <a:gd name="connsiteY4" fmla="*/ 226621 h 313756"/>
                <a:gd name="connsiteX5" fmla="*/ 0 w 250982"/>
                <a:gd name="connsiteY5" fmla="*/ 87135 h 313756"/>
                <a:gd name="connsiteX6" fmla="*/ 19806 w 250982"/>
                <a:gd name="connsiteY6" fmla="*/ 34823 h 313756"/>
                <a:gd name="connsiteX7" fmla="*/ 36059 w 250982"/>
                <a:gd name="connsiteY7" fmla="*/ 18570 h 313756"/>
                <a:gd name="connsiteX8" fmla="*/ 85244 w 250982"/>
                <a:gd name="connsiteY8" fmla="*/ 0 h 313756"/>
                <a:gd name="connsiteX9" fmla="*/ 164040 w 250982"/>
                <a:gd name="connsiteY9" fmla="*/ 0 h 313756"/>
                <a:gd name="connsiteX10" fmla="*/ 210368 w 250982"/>
                <a:gd name="connsiteY10" fmla="*/ 11582 h 313756"/>
                <a:gd name="connsiteX11" fmla="*/ 246620 w 250982"/>
                <a:gd name="connsiteY11" fmla="*/ 32275 h 313756"/>
                <a:gd name="connsiteX12" fmla="*/ 228437 w 250982"/>
                <a:gd name="connsiteY12" fmla="*/ 66635 h 313756"/>
                <a:gd name="connsiteX13" fmla="*/ 187784 w 250982"/>
                <a:gd name="connsiteY13" fmla="*/ 47911 h 313756"/>
                <a:gd name="connsiteX14" fmla="*/ 161492 w 250982"/>
                <a:gd name="connsiteY14" fmla="*/ 43046 h 313756"/>
                <a:gd name="connsiteX15" fmla="*/ 91460 w 250982"/>
                <a:gd name="connsiteY15" fmla="*/ 43046 h 313756"/>
                <a:gd name="connsiteX16" fmla="*/ 69300 w 250982"/>
                <a:gd name="connsiteY16" fmla="*/ 51424 h 313756"/>
                <a:gd name="connsiteX17" fmla="*/ 54976 w 250982"/>
                <a:gd name="connsiteY17" fmla="*/ 65786 h 313756"/>
                <a:gd name="connsiteX18" fmla="*/ 45981 w 250982"/>
                <a:gd name="connsiteY18" fmla="*/ 86016 h 313756"/>
                <a:gd name="connsiteX19" fmla="*/ 45981 w 250982"/>
                <a:gd name="connsiteY19" fmla="*/ 227857 h 313756"/>
                <a:gd name="connsiteX20" fmla="*/ 54937 w 250982"/>
                <a:gd name="connsiteY20" fmla="*/ 248125 h 313756"/>
                <a:gd name="connsiteX21" fmla="*/ 69338 w 250982"/>
                <a:gd name="connsiteY21" fmla="*/ 262487 h 313756"/>
                <a:gd name="connsiteX22" fmla="*/ 91460 w 250982"/>
                <a:gd name="connsiteY22" fmla="*/ 270826 h 313756"/>
                <a:gd name="connsiteX23" fmla="*/ 165893 w 250982"/>
                <a:gd name="connsiteY23" fmla="*/ 270826 h 313756"/>
                <a:gd name="connsiteX24" fmla="*/ 192223 w 250982"/>
                <a:gd name="connsiteY24" fmla="*/ 265923 h 313756"/>
                <a:gd name="connsiteX25" fmla="*/ 232799 w 250982"/>
                <a:gd name="connsiteY25" fmla="*/ 246620 h 313756"/>
                <a:gd name="connsiteX26" fmla="*/ 250982 w 250982"/>
                <a:gd name="connsiteY26" fmla="*/ 280285 h 313756"/>
                <a:gd name="connsiteX27" fmla="*/ 214808 w 250982"/>
                <a:gd name="connsiteY27" fmla="*/ 302291 h 313756"/>
                <a:gd name="connsiteX28" fmla="*/ 168326 w 250982"/>
                <a:gd name="connsiteY28" fmla="*/ 313757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0982" h="313756">
                  <a:moveTo>
                    <a:pt x="168326" y="313757"/>
                  </a:moveTo>
                  <a:lnTo>
                    <a:pt x="85244" y="313757"/>
                  </a:lnTo>
                  <a:cubicBezTo>
                    <a:pt x="61501" y="313757"/>
                    <a:pt x="50498" y="309587"/>
                    <a:pt x="36059" y="295187"/>
                  </a:cubicBezTo>
                  <a:lnTo>
                    <a:pt x="19806" y="278934"/>
                  </a:lnTo>
                  <a:cubicBezTo>
                    <a:pt x="2587" y="261715"/>
                    <a:pt x="0" y="254882"/>
                    <a:pt x="0" y="226621"/>
                  </a:cubicBezTo>
                  <a:lnTo>
                    <a:pt x="0" y="87135"/>
                  </a:lnTo>
                  <a:cubicBezTo>
                    <a:pt x="0" y="58914"/>
                    <a:pt x="2587" y="52042"/>
                    <a:pt x="19806" y="34823"/>
                  </a:cubicBezTo>
                  <a:lnTo>
                    <a:pt x="36059" y="18570"/>
                  </a:lnTo>
                  <a:cubicBezTo>
                    <a:pt x="50459" y="4169"/>
                    <a:pt x="61501" y="0"/>
                    <a:pt x="85244" y="0"/>
                  </a:cubicBezTo>
                  <a:lnTo>
                    <a:pt x="164040" y="0"/>
                  </a:lnTo>
                  <a:cubicBezTo>
                    <a:pt x="186393" y="0"/>
                    <a:pt x="194925" y="2741"/>
                    <a:pt x="210368" y="11582"/>
                  </a:cubicBezTo>
                  <a:lnTo>
                    <a:pt x="246620" y="32275"/>
                  </a:lnTo>
                  <a:lnTo>
                    <a:pt x="228437" y="66635"/>
                  </a:lnTo>
                  <a:lnTo>
                    <a:pt x="187784" y="47911"/>
                  </a:lnTo>
                  <a:cubicBezTo>
                    <a:pt x="179505" y="44305"/>
                    <a:pt x="170512" y="42641"/>
                    <a:pt x="161492" y="43046"/>
                  </a:cubicBezTo>
                  <a:lnTo>
                    <a:pt x="91460" y="43046"/>
                  </a:lnTo>
                  <a:cubicBezTo>
                    <a:pt x="79260" y="43046"/>
                    <a:pt x="77097" y="44205"/>
                    <a:pt x="69300" y="51424"/>
                  </a:cubicBezTo>
                  <a:lnTo>
                    <a:pt x="54976" y="65786"/>
                  </a:lnTo>
                  <a:cubicBezTo>
                    <a:pt x="47486" y="73237"/>
                    <a:pt x="45981" y="76634"/>
                    <a:pt x="45981" y="86016"/>
                  </a:cubicBezTo>
                  <a:lnTo>
                    <a:pt x="45981" y="227857"/>
                  </a:lnTo>
                  <a:cubicBezTo>
                    <a:pt x="45981" y="237238"/>
                    <a:pt x="47486" y="240674"/>
                    <a:pt x="54937" y="248125"/>
                  </a:cubicBezTo>
                  <a:lnTo>
                    <a:pt x="69338" y="262487"/>
                  </a:lnTo>
                  <a:cubicBezTo>
                    <a:pt x="77059" y="269668"/>
                    <a:pt x="79260" y="270826"/>
                    <a:pt x="91460" y="270826"/>
                  </a:cubicBezTo>
                  <a:lnTo>
                    <a:pt x="165893" y="270826"/>
                  </a:lnTo>
                  <a:cubicBezTo>
                    <a:pt x="174929" y="271228"/>
                    <a:pt x="183937" y="269551"/>
                    <a:pt x="192223" y="265923"/>
                  </a:cubicBezTo>
                  <a:lnTo>
                    <a:pt x="232799" y="246620"/>
                  </a:lnTo>
                  <a:lnTo>
                    <a:pt x="250982" y="280285"/>
                  </a:lnTo>
                  <a:lnTo>
                    <a:pt x="214808" y="302291"/>
                  </a:lnTo>
                  <a:cubicBezTo>
                    <a:pt x="199790" y="311595"/>
                    <a:pt x="191142" y="313757"/>
                    <a:pt x="168326" y="313757"/>
                  </a:cubicBezTo>
                  <a:close/>
                </a:path>
              </a:pathLst>
            </a:custGeom>
            <a:grpFill/>
            <a:ln w="3861"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21E7B539-5B90-B3B7-3505-A76CD2C83A7E}"/>
                </a:ext>
              </a:extLst>
            </p:cNvPr>
            <p:cNvSpPr/>
            <p:nvPr/>
          </p:nvSpPr>
          <p:spPr>
            <a:xfrm>
              <a:off x="10904697" y="7230666"/>
              <a:ext cx="268624" cy="313946"/>
            </a:xfrm>
            <a:custGeom>
              <a:avLst/>
              <a:gdLst>
                <a:gd name="connsiteX0" fmla="*/ 184077 w 268624"/>
                <a:gd name="connsiteY0" fmla="*/ 313873 h 313946"/>
                <a:gd name="connsiteX1" fmla="*/ 85243 w 268624"/>
                <a:gd name="connsiteY1" fmla="*/ 313873 h 313946"/>
                <a:gd name="connsiteX2" fmla="*/ 36097 w 268624"/>
                <a:gd name="connsiteY2" fmla="*/ 295303 h 313946"/>
                <a:gd name="connsiteX3" fmla="*/ 19805 w 268624"/>
                <a:gd name="connsiteY3" fmla="*/ 279049 h 313946"/>
                <a:gd name="connsiteX4" fmla="*/ 0 w 268624"/>
                <a:gd name="connsiteY4" fmla="*/ 226737 h 313946"/>
                <a:gd name="connsiteX5" fmla="*/ 0 w 268624"/>
                <a:gd name="connsiteY5" fmla="*/ 203573 h 313946"/>
                <a:gd name="connsiteX6" fmla="*/ 19805 w 268624"/>
                <a:gd name="connsiteY6" fmla="*/ 151261 h 313946"/>
                <a:gd name="connsiteX7" fmla="*/ 36058 w 268624"/>
                <a:gd name="connsiteY7" fmla="*/ 135008 h 313946"/>
                <a:gd name="connsiteX8" fmla="*/ 85243 w 268624"/>
                <a:gd name="connsiteY8" fmla="*/ 116476 h 313946"/>
                <a:gd name="connsiteX9" fmla="*/ 165313 w 268624"/>
                <a:gd name="connsiteY9" fmla="*/ 116476 h 313946"/>
                <a:gd name="connsiteX10" fmla="*/ 198245 w 268624"/>
                <a:gd name="connsiteY10" fmla="*/ 120878 h 313946"/>
                <a:gd name="connsiteX11" fmla="*/ 222645 w 268624"/>
                <a:gd name="connsiteY11" fmla="*/ 127865 h 313946"/>
                <a:gd name="connsiteX12" fmla="*/ 222645 w 268624"/>
                <a:gd name="connsiteY12" fmla="*/ 84742 h 313946"/>
                <a:gd name="connsiteX13" fmla="*/ 213688 w 268624"/>
                <a:gd name="connsiteY13" fmla="*/ 64512 h 313946"/>
                <a:gd name="connsiteX14" fmla="*/ 199326 w 268624"/>
                <a:gd name="connsiteY14" fmla="*/ 50111 h 313946"/>
                <a:gd name="connsiteX15" fmla="*/ 177204 w 268624"/>
                <a:gd name="connsiteY15" fmla="*/ 41811 h 313946"/>
                <a:gd name="connsiteX16" fmla="*/ 99644 w 268624"/>
                <a:gd name="connsiteY16" fmla="*/ 41811 h 313946"/>
                <a:gd name="connsiteX17" fmla="*/ 75244 w 268624"/>
                <a:gd name="connsiteY17" fmla="*/ 46676 h 313946"/>
                <a:gd name="connsiteX18" fmla="*/ 34013 w 268624"/>
                <a:gd name="connsiteY18" fmla="*/ 66635 h 313946"/>
                <a:gd name="connsiteX19" fmla="*/ 15134 w 268624"/>
                <a:gd name="connsiteY19" fmla="*/ 33588 h 313946"/>
                <a:gd name="connsiteX20" fmla="*/ 51347 w 268624"/>
                <a:gd name="connsiteY20" fmla="*/ 11582 h 313946"/>
                <a:gd name="connsiteX21" fmla="*/ 97675 w 268624"/>
                <a:gd name="connsiteY21" fmla="*/ 0 h 313946"/>
                <a:gd name="connsiteX22" fmla="*/ 183382 w 268624"/>
                <a:gd name="connsiteY22" fmla="*/ 0 h 313946"/>
                <a:gd name="connsiteX23" fmla="*/ 232567 w 268624"/>
                <a:gd name="connsiteY23" fmla="*/ 18570 h 313946"/>
                <a:gd name="connsiteX24" fmla="*/ 248820 w 268624"/>
                <a:gd name="connsiteY24" fmla="*/ 34823 h 313946"/>
                <a:gd name="connsiteX25" fmla="*/ 268625 w 268624"/>
                <a:gd name="connsiteY25" fmla="*/ 87135 h 313946"/>
                <a:gd name="connsiteX26" fmla="*/ 268625 w 268624"/>
                <a:gd name="connsiteY26" fmla="*/ 268587 h 313946"/>
                <a:gd name="connsiteX27" fmla="*/ 252102 w 268624"/>
                <a:gd name="connsiteY27" fmla="*/ 294338 h 313946"/>
                <a:gd name="connsiteX28" fmla="*/ 220830 w 268624"/>
                <a:gd name="connsiteY28" fmla="*/ 306846 h 313946"/>
                <a:gd name="connsiteX29" fmla="*/ 184077 w 268624"/>
                <a:gd name="connsiteY29" fmla="*/ 313873 h 313946"/>
                <a:gd name="connsiteX30" fmla="*/ 90880 w 268624"/>
                <a:gd name="connsiteY30" fmla="*/ 158133 h 313946"/>
                <a:gd name="connsiteX31" fmla="*/ 68759 w 268624"/>
                <a:gd name="connsiteY31" fmla="*/ 166472 h 313946"/>
                <a:gd name="connsiteX32" fmla="*/ 55015 w 268624"/>
                <a:gd name="connsiteY32" fmla="*/ 180216 h 313946"/>
                <a:gd name="connsiteX33" fmla="*/ 46058 w 268624"/>
                <a:gd name="connsiteY33" fmla="*/ 200485 h 313946"/>
                <a:gd name="connsiteX34" fmla="*/ 46058 w 268624"/>
                <a:gd name="connsiteY34" fmla="*/ 229903 h 313946"/>
                <a:gd name="connsiteX35" fmla="*/ 55015 w 268624"/>
                <a:gd name="connsiteY35" fmla="*/ 250133 h 313946"/>
                <a:gd name="connsiteX36" fmla="*/ 68759 w 268624"/>
                <a:gd name="connsiteY36" fmla="*/ 263915 h 313946"/>
                <a:gd name="connsiteX37" fmla="*/ 90880 w 268624"/>
                <a:gd name="connsiteY37" fmla="*/ 272216 h 313946"/>
                <a:gd name="connsiteX38" fmla="*/ 180332 w 268624"/>
                <a:gd name="connsiteY38" fmla="*/ 272216 h 313946"/>
                <a:gd name="connsiteX39" fmla="*/ 192956 w 268624"/>
                <a:gd name="connsiteY39" fmla="*/ 269822 h 313946"/>
                <a:gd name="connsiteX40" fmla="*/ 219981 w 268624"/>
                <a:gd name="connsiteY40" fmla="*/ 259205 h 313946"/>
                <a:gd name="connsiteX41" fmla="*/ 222799 w 268624"/>
                <a:gd name="connsiteY41" fmla="*/ 254920 h 313946"/>
                <a:gd name="connsiteX42" fmla="*/ 222799 w 268624"/>
                <a:gd name="connsiteY42" fmla="*/ 175429 h 313946"/>
                <a:gd name="connsiteX43" fmla="*/ 217626 w 268624"/>
                <a:gd name="connsiteY43" fmla="*/ 169329 h 313946"/>
                <a:gd name="connsiteX44" fmla="*/ 186355 w 268624"/>
                <a:gd name="connsiteY44" fmla="*/ 160565 h 313946"/>
                <a:gd name="connsiteX45" fmla="*/ 164233 w 268624"/>
                <a:gd name="connsiteY45" fmla="*/ 158133 h 31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8624" h="313946">
                  <a:moveTo>
                    <a:pt x="184077" y="313873"/>
                  </a:moveTo>
                  <a:lnTo>
                    <a:pt x="85243" y="313873"/>
                  </a:lnTo>
                  <a:cubicBezTo>
                    <a:pt x="61500" y="313873"/>
                    <a:pt x="50497" y="309703"/>
                    <a:pt x="36097" y="295303"/>
                  </a:cubicBezTo>
                  <a:lnTo>
                    <a:pt x="19805" y="279049"/>
                  </a:lnTo>
                  <a:cubicBezTo>
                    <a:pt x="2586" y="261831"/>
                    <a:pt x="0" y="254959"/>
                    <a:pt x="0" y="226737"/>
                  </a:cubicBezTo>
                  <a:lnTo>
                    <a:pt x="0" y="203573"/>
                  </a:lnTo>
                  <a:cubicBezTo>
                    <a:pt x="0" y="175352"/>
                    <a:pt x="2586" y="168518"/>
                    <a:pt x="19805" y="151261"/>
                  </a:cubicBezTo>
                  <a:lnTo>
                    <a:pt x="36058" y="135008"/>
                  </a:lnTo>
                  <a:cubicBezTo>
                    <a:pt x="50497" y="120607"/>
                    <a:pt x="61500" y="116476"/>
                    <a:pt x="85243" y="116476"/>
                  </a:cubicBezTo>
                  <a:lnTo>
                    <a:pt x="165313" y="116476"/>
                  </a:lnTo>
                  <a:cubicBezTo>
                    <a:pt x="176448" y="116316"/>
                    <a:pt x="187544" y="117799"/>
                    <a:pt x="198245" y="120878"/>
                  </a:cubicBezTo>
                  <a:lnTo>
                    <a:pt x="222645" y="127865"/>
                  </a:lnTo>
                  <a:lnTo>
                    <a:pt x="222645" y="84742"/>
                  </a:lnTo>
                  <a:cubicBezTo>
                    <a:pt x="222645" y="75360"/>
                    <a:pt x="221139" y="71963"/>
                    <a:pt x="213688" y="64512"/>
                  </a:cubicBezTo>
                  <a:lnTo>
                    <a:pt x="199326" y="50111"/>
                  </a:lnTo>
                  <a:cubicBezTo>
                    <a:pt x="191605" y="42969"/>
                    <a:pt x="189405" y="41811"/>
                    <a:pt x="177204" y="41811"/>
                  </a:cubicBezTo>
                  <a:lnTo>
                    <a:pt x="99644" y="41811"/>
                  </a:lnTo>
                  <a:cubicBezTo>
                    <a:pt x="91230" y="41337"/>
                    <a:pt x="82834" y="43011"/>
                    <a:pt x="75244" y="46676"/>
                  </a:cubicBezTo>
                  <a:lnTo>
                    <a:pt x="34013" y="66635"/>
                  </a:lnTo>
                  <a:lnTo>
                    <a:pt x="15134" y="33588"/>
                  </a:lnTo>
                  <a:lnTo>
                    <a:pt x="51347" y="11582"/>
                  </a:lnTo>
                  <a:cubicBezTo>
                    <a:pt x="66287" y="2278"/>
                    <a:pt x="74935" y="0"/>
                    <a:pt x="97675" y="0"/>
                  </a:cubicBezTo>
                  <a:lnTo>
                    <a:pt x="183382" y="0"/>
                  </a:lnTo>
                  <a:cubicBezTo>
                    <a:pt x="207125" y="0"/>
                    <a:pt x="218128" y="4169"/>
                    <a:pt x="232567" y="18570"/>
                  </a:cubicBezTo>
                  <a:lnTo>
                    <a:pt x="248820" y="34823"/>
                  </a:lnTo>
                  <a:cubicBezTo>
                    <a:pt x="266039" y="52042"/>
                    <a:pt x="268625" y="58914"/>
                    <a:pt x="268625" y="87135"/>
                  </a:cubicBezTo>
                  <a:lnTo>
                    <a:pt x="268625" y="268587"/>
                  </a:lnTo>
                  <a:cubicBezTo>
                    <a:pt x="268625" y="281945"/>
                    <a:pt x="263838" y="289396"/>
                    <a:pt x="252102" y="294338"/>
                  </a:cubicBezTo>
                  <a:lnTo>
                    <a:pt x="220830" y="306846"/>
                  </a:lnTo>
                  <a:cubicBezTo>
                    <a:pt x="209290" y="312006"/>
                    <a:pt x="196707" y="314411"/>
                    <a:pt x="184077" y="313873"/>
                  </a:cubicBezTo>
                  <a:close/>
                  <a:moveTo>
                    <a:pt x="90880" y="158133"/>
                  </a:moveTo>
                  <a:cubicBezTo>
                    <a:pt x="80032" y="158133"/>
                    <a:pt x="76055" y="159175"/>
                    <a:pt x="68759" y="166472"/>
                  </a:cubicBezTo>
                  <a:lnTo>
                    <a:pt x="55015" y="180216"/>
                  </a:lnTo>
                  <a:cubicBezTo>
                    <a:pt x="47563" y="187667"/>
                    <a:pt x="46058" y="191065"/>
                    <a:pt x="46058" y="200485"/>
                  </a:cubicBezTo>
                  <a:lnTo>
                    <a:pt x="46058" y="229903"/>
                  </a:lnTo>
                  <a:cubicBezTo>
                    <a:pt x="46058" y="239284"/>
                    <a:pt x="47563" y="242682"/>
                    <a:pt x="55015" y="250133"/>
                  </a:cubicBezTo>
                  <a:lnTo>
                    <a:pt x="68759" y="263915"/>
                  </a:lnTo>
                  <a:cubicBezTo>
                    <a:pt x="76480" y="271058"/>
                    <a:pt x="78680" y="272216"/>
                    <a:pt x="90880" y="272216"/>
                  </a:cubicBezTo>
                  <a:lnTo>
                    <a:pt x="180332" y="272216"/>
                  </a:lnTo>
                  <a:cubicBezTo>
                    <a:pt x="184661" y="272304"/>
                    <a:pt x="188960" y="271489"/>
                    <a:pt x="192956" y="269822"/>
                  </a:cubicBezTo>
                  <a:lnTo>
                    <a:pt x="219981" y="259205"/>
                  </a:lnTo>
                  <a:cubicBezTo>
                    <a:pt x="222567" y="258163"/>
                    <a:pt x="222799" y="257468"/>
                    <a:pt x="222799" y="254920"/>
                  </a:cubicBezTo>
                  <a:lnTo>
                    <a:pt x="222799" y="175429"/>
                  </a:lnTo>
                  <a:cubicBezTo>
                    <a:pt x="222799" y="171375"/>
                    <a:pt x="221718" y="170487"/>
                    <a:pt x="217626" y="169329"/>
                  </a:cubicBezTo>
                  <a:lnTo>
                    <a:pt x="186355" y="160565"/>
                  </a:lnTo>
                  <a:cubicBezTo>
                    <a:pt x="179122" y="158777"/>
                    <a:pt x="171682" y="157959"/>
                    <a:pt x="164233" y="158133"/>
                  </a:cubicBezTo>
                  <a:close/>
                </a:path>
              </a:pathLst>
            </a:custGeom>
            <a:grpFill/>
            <a:ln w="3861"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747AAD5D-CA5E-233E-C1F0-E2C90285F432}"/>
                </a:ext>
              </a:extLst>
            </p:cNvPr>
            <p:cNvSpPr/>
            <p:nvPr/>
          </p:nvSpPr>
          <p:spPr>
            <a:xfrm>
              <a:off x="11252427" y="7230782"/>
              <a:ext cx="165507" cy="310011"/>
            </a:xfrm>
            <a:custGeom>
              <a:avLst/>
              <a:gdLst>
                <a:gd name="connsiteX0" fmla="*/ 46058 w 165507"/>
                <a:gd name="connsiteY0" fmla="*/ 310012 h 310011"/>
                <a:gd name="connsiteX1" fmla="*/ 0 w 165507"/>
                <a:gd name="connsiteY1" fmla="*/ 310012 h 310011"/>
                <a:gd name="connsiteX2" fmla="*/ 0 w 165507"/>
                <a:gd name="connsiteY2" fmla="*/ 87135 h 310011"/>
                <a:gd name="connsiteX3" fmla="*/ 19806 w 165507"/>
                <a:gd name="connsiteY3" fmla="*/ 34823 h 310011"/>
                <a:gd name="connsiteX4" fmla="*/ 36059 w 165507"/>
                <a:gd name="connsiteY4" fmla="*/ 18570 h 310011"/>
                <a:gd name="connsiteX5" fmla="*/ 85244 w 165507"/>
                <a:gd name="connsiteY5" fmla="*/ 0 h 310011"/>
                <a:gd name="connsiteX6" fmla="*/ 165507 w 165507"/>
                <a:gd name="connsiteY6" fmla="*/ 0 h 310011"/>
                <a:gd name="connsiteX7" fmla="*/ 165507 w 165507"/>
                <a:gd name="connsiteY7" fmla="*/ 42931 h 310011"/>
                <a:gd name="connsiteX8" fmla="*/ 91499 w 165507"/>
                <a:gd name="connsiteY8" fmla="*/ 42931 h 310011"/>
                <a:gd name="connsiteX9" fmla="*/ 69338 w 165507"/>
                <a:gd name="connsiteY9" fmla="*/ 51308 h 310011"/>
                <a:gd name="connsiteX10" fmla="*/ 55015 w 165507"/>
                <a:gd name="connsiteY10" fmla="*/ 65670 h 310011"/>
                <a:gd name="connsiteX11" fmla="*/ 46058 w 165507"/>
                <a:gd name="connsiteY11" fmla="*/ 85900 h 31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507" h="310011">
                  <a:moveTo>
                    <a:pt x="46058" y="310012"/>
                  </a:moveTo>
                  <a:lnTo>
                    <a:pt x="0" y="310012"/>
                  </a:lnTo>
                  <a:lnTo>
                    <a:pt x="0" y="87135"/>
                  </a:lnTo>
                  <a:cubicBezTo>
                    <a:pt x="0" y="58914"/>
                    <a:pt x="2587" y="52042"/>
                    <a:pt x="19806" y="34823"/>
                  </a:cubicBezTo>
                  <a:lnTo>
                    <a:pt x="36059" y="18570"/>
                  </a:lnTo>
                  <a:cubicBezTo>
                    <a:pt x="50459" y="4169"/>
                    <a:pt x="61501" y="0"/>
                    <a:pt x="85244" y="0"/>
                  </a:cubicBezTo>
                  <a:lnTo>
                    <a:pt x="165507" y="0"/>
                  </a:lnTo>
                  <a:lnTo>
                    <a:pt x="165507" y="42931"/>
                  </a:lnTo>
                  <a:lnTo>
                    <a:pt x="91499" y="42931"/>
                  </a:lnTo>
                  <a:cubicBezTo>
                    <a:pt x="79298" y="42931"/>
                    <a:pt x="77176" y="44089"/>
                    <a:pt x="69338" y="51308"/>
                  </a:cubicBezTo>
                  <a:lnTo>
                    <a:pt x="55015" y="65670"/>
                  </a:lnTo>
                  <a:cubicBezTo>
                    <a:pt x="47564" y="73121"/>
                    <a:pt x="46058" y="76518"/>
                    <a:pt x="46058" y="85900"/>
                  </a:cubicBezTo>
                  <a:close/>
                </a:path>
              </a:pathLst>
            </a:custGeom>
            <a:grpFill/>
            <a:ln w="3861"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5DAB8CDB-2034-618C-F207-0A38C216AAB1}"/>
                </a:ext>
              </a:extLst>
            </p:cNvPr>
            <p:cNvSpPr/>
            <p:nvPr/>
          </p:nvSpPr>
          <p:spPr>
            <a:xfrm>
              <a:off x="11462449" y="7230782"/>
              <a:ext cx="264340" cy="313756"/>
            </a:xfrm>
            <a:custGeom>
              <a:avLst/>
              <a:gdLst>
                <a:gd name="connsiteX0" fmla="*/ 177939 w 264340"/>
                <a:gd name="connsiteY0" fmla="*/ 313757 h 313756"/>
                <a:gd name="connsiteX1" fmla="*/ 85283 w 264340"/>
                <a:gd name="connsiteY1" fmla="*/ 313757 h 313756"/>
                <a:gd name="connsiteX2" fmla="*/ 36097 w 264340"/>
                <a:gd name="connsiteY2" fmla="*/ 295187 h 313756"/>
                <a:gd name="connsiteX3" fmla="*/ 19805 w 264340"/>
                <a:gd name="connsiteY3" fmla="*/ 278934 h 313756"/>
                <a:gd name="connsiteX4" fmla="*/ 0 w 264340"/>
                <a:gd name="connsiteY4" fmla="*/ 226621 h 313756"/>
                <a:gd name="connsiteX5" fmla="*/ 0 w 264340"/>
                <a:gd name="connsiteY5" fmla="*/ 87135 h 313756"/>
                <a:gd name="connsiteX6" fmla="*/ 19805 w 264340"/>
                <a:gd name="connsiteY6" fmla="*/ 34823 h 313756"/>
                <a:gd name="connsiteX7" fmla="*/ 36097 w 264340"/>
                <a:gd name="connsiteY7" fmla="*/ 18570 h 313756"/>
                <a:gd name="connsiteX8" fmla="*/ 85283 w 264340"/>
                <a:gd name="connsiteY8" fmla="*/ 0 h 313756"/>
                <a:gd name="connsiteX9" fmla="*/ 179096 w 264340"/>
                <a:gd name="connsiteY9" fmla="*/ 0 h 313756"/>
                <a:gd name="connsiteX10" fmla="*/ 228281 w 264340"/>
                <a:gd name="connsiteY10" fmla="*/ 18570 h 313756"/>
                <a:gd name="connsiteX11" fmla="*/ 244535 w 264340"/>
                <a:gd name="connsiteY11" fmla="*/ 34823 h 313756"/>
                <a:gd name="connsiteX12" fmla="*/ 264340 w 264340"/>
                <a:gd name="connsiteY12" fmla="*/ 87135 h 313756"/>
                <a:gd name="connsiteX13" fmla="*/ 264340 w 264340"/>
                <a:gd name="connsiteY13" fmla="*/ 155315 h 313756"/>
                <a:gd name="connsiteX14" fmla="*/ 243493 w 264340"/>
                <a:gd name="connsiteY14" fmla="*/ 177398 h 313756"/>
                <a:gd name="connsiteX15" fmla="*/ 46212 w 264340"/>
                <a:gd name="connsiteY15" fmla="*/ 177398 h 313756"/>
                <a:gd name="connsiteX16" fmla="*/ 46212 w 264340"/>
                <a:gd name="connsiteY16" fmla="*/ 229131 h 313756"/>
                <a:gd name="connsiteX17" fmla="*/ 55169 w 264340"/>
                <a:gd name="connsiteY17" fmla="*/ 249361 h 313756"/>
                <a:gd name="connsiteX18" fmla="*/ 69569 w 264340"/>
                <a:gd name="connsiteY18" fmla="*/ 263761 h 313756"/>
                <a:gd name="connsiteX19" fmla="*/ 91691 w 264340"/>
                <a:gd name="connsiteY19" fmla="*/ 272062 h 313756"/>
                <a:gd name="connsiteX20" fmla="*/ 175467 w 264340"/>
                <a:gd name="connsiteY20" fmla="*/ 272062 h 313756"/>
                <a:gd name="connsiteX21" fmla="*/ 201797 w 264340"/>
                <a:gd name="connsiteY21" fmla="*/ 267197 h 313756"/>
                <a:gd name="connsiteX22" fmla="*/ 241755 w 264340"/>
                <a:gd name="connsiteY22" fmla="*/ 247894 h 313756"/>
                <a:gd name="connsiteX23" fmla="*/ 260634 w 264340"/>
                <a:gd name="connsiteY23" fmla="*/ 280323 h 313756"/>
                <a:gd name="connsiteX24" fmla="*/ 224382 w 264340"/>
                <a:gd name="connsiteY24" fmla="*/ 302329 h 313756"/>
                <a:gd name="connsiteX25" fmla="*/ 177939 w 264340"/>
                <a:gd name="connsiteY25" fmla="*/ 313757 h 313756"/>
                <a:gd name="connsiteX26" fmla="*/ 46212 w 264340"/>
                <a:gd name="connsiteY26" fmla="*/ 137131 h 313756"/>
                <a:gd name="connsiteX27" fmla="*/ 219093 w 264340"/>
                <a:gd name="connsiteY27" fmla="*/ 137131 h 313756"/>
                <a:gd name="connsiteX28" fmla="*/ 219093 w 264340"/>
                <a:gd name="connsiteY28" fmla="*/ 84008 h 313756"/>
                <a:gd name="connsiteX29" fmla="*/ 209480 w 264340"/>
                <a:gd name="connsiteY29" fmla="*/ 63778 h 313756"/>
                <a:gd name="connsiteX30" fmla="*/ 195118 w 264340"/>
                <a:gd name="connsiteY30" fmla="*/ 49378 h 313756"/>
                <a:gd name="connsiteX31" fmla="*/ 172997 w 264340"/>
                <a:gd name="connsiteY31" fmla="*/ 41077 h 313756"/>
                <a:gd name="connsiteX32" fmla="*/ 91691 w 264340"/>
                <a:gd name="connsiteY32" fmla="*/ 41077 h 313756"/>
                <a:gd name="connsiteX33" fmla="*/ 69531 w 264340"/>
                <a:gd name="connsiteY33" fmla="*/ 49417 h 313756"/>
                <a:gd name="connsiteX34" fmla="*/ 55169 w 264340"/>
                <a:gd name="connsiteY34" fmla="*/ 63778 h 313756"/>
                <a:gd name="connsiteX35" fmla="*/ 46212 w 264340"/>
                <a:gd name="connsiteY35" fmla="*/ 84008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4340" h="313756">
                  <a:moveTo>
                    <a:pt x="177939" y="313757"/>
                  </a:moveTo>
                  <a:lnTo>
                    <a:pt x="85283" y="313757"/>
                  </a:lnTo>
                  <a:cubicBezTo>
                    <a:pt x="61500" y="313757"/>
                    <a:pt x="50537" y="309587"/>
                    <a:pt x="36097" y="295187"/>
                  </a:cubicBezTo>
                  <a:lnTo>
                    <a:pt x="19805" y="278934"/>
                  </a:lnTo>
                  <a:cubicBezTo>
                    <a:pt x="2625" y="261715"/>
                    <a:pt x="0" y="254882"/>
                    <a:pt x="0" y="226621"/>
                  </a:cubicBezTo>
                  <a:lnTo>
                    <a:pt x="0" y="87135"/>
                  </a:lnTo>
                  <a:cubicBezTo>
                    <a:pt x="0" y="58914"/>
                    <a:pt x="2625" y="52042"/>
                    <a:pt x="19805" y="34823"/>
                  </a:cubicBezTo>
                  <a:lnTo>
                    <a:pt x="36097" y="18570"/>
                  </a:lnTo>
                  <a:cubicBezTo>
                    <a:pt x="50498" y="4169"/>
                    <a:pt x="61500" y="0"/>
                    <a:pt x="85283" y="0"/>
                  </a:cubicBezTo>
                  <a:lnTo>
                    <a:pt x="179096" y="0"/>
                  </a:lnTo>
                  <a:cubicBezTo>
                    <a:pt x="202840" y="0"/>
                    <a:pt x="213842" y="4169"/>
                    <a:pt x="228281" y="18570"/>
                  </a:cubicBezTo>
                  <a:lnTo>
                    <a:pt x="244535" y="34823"/>
                  </a:lnTo>
                  <a:cubicBezTo>
                    <a:pt x="261754" y="52042"/>
                    <a:pt x="264340" y="58914"/>
                    <a:pt x="264340" y="87135"/>
                  </a:cubicBezTo>
                  <a:lnTo>
                    <a:pt x="264340" y="155315"/>
                  </a:lnTo>
                  <a:cubicBezTo>
                    <a:pt x="264340" y="169561"/>
                    <a:pt x="256928" y="177398"/>
                    <a:pt x="243493" y="177398"/>
                  </a:cubicBezTo>
                  <a:lnTo>
                    <a:pt x="46212" y="177398"/>
                  </a:lnTo>
                  <a:lnTo>
                    <a:pt x="46212" y="229131"/>
                  </a:lnTo>
                  <a:cubicBezTo>
                    <a:pt x="46212" y="238512"/>
                    <a:pt x="47717" y="241910"/>
                    <a:pt x="55169" y="249361"/>
                  </a:cubicBezTo>
                  <a:lnTo>
                    <a:pt x="69569" y="263761"/>
                  </a:lnTo>
                  <a:cubicBezTo>
                    <a:pt x="77291" y="271482"/>
                    <a:pt x="79453" y="272062"/>
                    <a:pt x="91691" y="272062"/>
                  </a:cubicBezTo>
                  <a:lnTo>
                    <a:pt x="175467" y="272062"/>
                  </a:lnTo>
                  <a:cubicBezTo>
                    <a:pt x="184500" y="272459"/>
                    <a:pt x="193503" y="270796"/>
                    <a:pt x="201797" y="267197"/>
                  </a:cubicBezTo>
                  <a:lnTo>
                    <a:pt x="241755" y="247894"/>
                  </a:lnTo>
                  <a:lnTo>
                    <a:pt x="260634" y="280323"/>
                  </a:lnTo>
                  <a:lnTo>
                    <a:pt x="224382" y="302329"/>
                  </a:lnTo>
                  <a:cubicBezTo>
                    <a:pt x="209441" y="311595"/>
                    <a:pt x="200639" y="313757"/>
                    <a:pt x="177939" y="313757"/>
                  </a:cubicBezTo>
                  <a:close/>
                  <a:moveTo>
                    <a:pt x="46212" y="137131"/>
                  </a:moveTo>
                  <a:lnTo>
                    <a:pt x="219093" y="137131"/>
                  </a:lnTo>
                  <a:lnTo>
                    <a:pt x="219093" y="84008"/>
                  </a:lnTo>
                  <a:cubicBezTo>
                    <a:pt x="219093" y="74704"/>
                    <a:pt x="217047" y="71307"/>
                    <a:pt x="209480" y="63778"/>
                  </a:cubicBezTo>
                  <a:lnTo>
                    <a:pt x="195118" y="49378"/>
                  </a:lnTo>
                  <a:cubicBezTo>
                    <a:pt x="187397" y="42236"/>
                    <a:pt x="185196" y="41077"/>
                    <a:pt x="172997" y="41077"/>
                  </a:cubicBezTo>
                  <a:lnTo>
                    <a:pt x="91691" y="41077"/>
                  </a:lnTo>
                  <a:cubicBezTo>
                    <a:pt x="79492" y="41077"/>
                    <a:pt x="77329" y="42236"/>
                    <a:pt x="69531" y="49417"/>
                  </a:cubicBezTo>
                  <a:lnTo>
                    <a:pt x="55169" y="63778"/>
                  </a:lnTo>
                  <a:cubicBezTo>
                    <a:pt x="47717" y="71229"/>
                    <a:pt x="46212" y="74627"/>
                    <a:pt x="46212" y="84008"/>
                  </a:cubicBezTo>
                  <a:close/>
                </a:path>
              </a:pathLst>
            </a:custGeom>
            <a:grpFill/>
            <a:ln w="3861"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0FB41EB6-54C8-3ED2-C27A-C6BA1AA51ADF}"/>
                </a:ext>
              </a:extLst>
            </p:cNvPr>
            <p:cNvSpPr/>
            <p:nvPr/>
          </p:nvSpPr>
          <p:spPr>
            <a:xfrm>
              <a:off x="11799563" y="7480954"/>
              <a:ext cx="58682" cy="59840"/>
            </a:xfrm>
            <a:custGeom>
              <a:avLst/>
              <a:gdLst>
                <a:gd name="connsiteX0" fmla="*/ 47216 w 58682"/>
                <a:gd name="connsiteY0" fmla="*/ 59840 h 59840"/>
                <a:gd name="connsiteX1" fmla="*/ 11582 w 58682"/>
                <a:gd name="connsiteY1" fmla="*/ 59840 h 59840"/>
                <a:gd name="connsiteX2" fmla="*/ 0 w 58682"/>
                <a:gd name="connsiteY2" fmla="*/ 48992 h 59840"/>
                <a:gd name="connsiteX3" fmla="*/ 0 w 58682"/>
                <a:gd name="connsiteY3" fmla="*/ 0 h 59840"/>
                <a:gd name="connsiteX4" fmla="*/ 47100 w 58682"/>
                <a:gd name="connsiteY4" fmla="*/ 0 h 59840"/>
                <a:gd name="connsiteX5" fmla="*/ 58682 w 58682"/>
                <a:gd name="connsiteY5" fmla="*/ 10848 h 59840"/>
                <a:gd name="connsiteX6" fmla="*/ 58682 w 58682"/>
                <a:gd name="connsiteY6" fmla="*/ 49108 h 59840"/>
                <a:gd name="connsiteX7" fmla="*/ 47216 w 58682"/>
                <a:gd name="connsiteY7" fmla="*/ 59840 h 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82" h="59840">
                  <a:moveTo>
                    <a:pt x="47216" y="59840"/>
                  </a:moveTo>
                  <a:lnTo>
                    <a:pt x="11582" y="59840"/>
                  </a:lnTo>
                  <a:cubicBezTo>
                    <a:pt x="3861" y="59840"/>
                    <a:pt x="0" y="56173"/>
                    <a:pt x="0" y="48992"/>
                  </a:cubicBezTo>
                  <a:lnTo>
                    <a:pt x="0" y="0"/>
                  </a:lnTo>
                  <a:lnTo>
                    <a:pt x="47100" y="0"/>
                  </a:lnTo>
                  <a:cubicBezTo>
                    <a:pt x="54821" y="0"/>
                    <a:pt x="58682" y="3861"/>
                    <a:pt x="58682" y="10848"/>
                  </a:cubicBezTo>
                  <a:lnTo>
                    <a:pt x="58682" y="49108"/>
                  </a:lnTo>
                  <a:cubicBezTo>
                    <a:pt x="58682" y="56173"/>
                    <a:pt x="54821" y="59840"/>
                    <a:pt x="47216" y="59840"/>
                  </a:cubicBezTo>
                  <a:close/>
                </a:path>
              </a:pathLst>
            </a:custGeom>
            <a:grpFill/>
            <a:ln w="3861" cap="flat">
              <a:noFill/>
              <a:prstDash val="solid"/>
              <a:miter/>
            </a:ln>
          </p:spPr>
          <p:txBody>
            <a:bodyPr rtlCol="0" anchor="ctr"/>
            <a:lstStyle/>
            <a:p>
              <a:endParaRPr lang="en-US"/>
            </a:p>
          </p:txBody>
        </p:sp>
      </p:grpSp>
      <p:sp>
        <p:nvSpPr>
          <p:cNvPr id="84" name="Cover shape">
            <a:extLst>
              <a:ext uri="{FF2B5EF4-FFF2-40B4-BE49-F238E27FC236}">
                <a16:creationId xmlns:a16="http://schemas.microsoft.com/office/drawing/2014/main" id="{A5DF20E1-72E4-B34E-6C4F-CBD409BAD59E}"/>
              </a:ext>
            </a:extLst>
          </p:cNvPr>
          <p:cNvSpPr/>
          <p:nvPr userDrawn="1"/>
        </p:nvSpPr>
        <p:spPr>
          <a:xfrm>
            <a:off x="1" y="2511371"/>
            <a:ext cx="12192000" cy="219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7" name="0. Logo and tag line">
            <a:extLst>
              <a:ext uri="{FF2B5EF4-FFF2-40B4-BE49-F238E27FC236}">
                <a16:creationId xmlns:a16="http://schemas.microsoft.com/office/drawing/2014/main" id="{DEF980F0-020A-6FD2-A67B-E403553BC0E4}"/>
              </a:ext>
            </a:extLst>
          </p:cNvPr>
          <p:cNvGrpSpPr/>
          <p:nvPr userDrawn="1"/>
        </p:nvGrpSpPr>
        <p:grpSpPr>
          <a:xfrm>
            <a:off x="1551251" y="2891270"/>
            <a:ext cx="9092155" cy="1080000"/>
            <a:chOff x="1703651" y="3039794"/>
            <a:chExt cx="9092155" cy="1080000"/>
          </a:xfrm>
          <a:solidFill>
            <a:schemeClr val="tx2"/>
          </a:solidFill>
        </p:grpSpPr>
        <p:grpSp>
          <p:nvGrpSpPr>
            <p:cNvPr id="58" name="BEELDMERK">
              <a:extLst>
                <a:ext uri="{FF2B5EF4-FFF2-40B4-BE49-F238E27FC236}">
                  <a16:creationId xmlns:a16="http://schemas.microsoft.com/office/drawing/2014/main" id="{A025BADA-AE24-461A-5FCF-35184CCA722B}"/>
                </a:ext>
              </a:extLst>
            </p:cNvPr>
            <p:cNvGrpSpPr>
              <a:grpSpLocks noChangeAspect="1"/>
            </p:cNvGrpSpPr>
            <p:nvPr userDrawn="1"/>
          </p:nvGrpSpPr>
          <p:grpSpPr>
            <a:xfrm>
              <a:off x="1703651" y="3056370"/>
              <a:ext cx="1195898" cy="1044000"/>
              <a:chOff x="2082508" y="2257641"/>
              <a:chExt cx="2077252" cy="1813407"/>
            </a:xfrm>
            <a:grpFill/>
          </p:grpSpPr>
          <p:sp>
            <p:nvSpPr>
              <p:cNvPr id="80" name="Freeform 5">
                <a:extLst>
                  <a:ext uri="{FF2B5EF4-FFF2-40B4-BE49-F238E27FC236}">
                    <a16:creationId xmlns:a16="http://schemas.microsoft.com/office/drawing/2014/main" id="{E4624B26-83DB-A5DD-9710-A7EDF3553CE8}"/>
                  </a:ext>
                </a:extLst>
              </p:cNvPr>
              <p:cNvSpPr>
                <a:spLocks/>
              </p:cNvSpPr>
              <p:nvPr userDrawn="1"/>
            </p:nvSpPr>
            <p:spPr bwMode="auto">
              <a:xfrm>
                <a:off x="2082508" y="2257641"/>
                <a:ext cx="1217613" cy="1314451"/>
              </a:xfrm>
              <a:custGeom>
                <a:avLst/>
                <a:gdLst>
                  <a:gd name="T0" fmla="*/ 767 w 767"/>
                  <a:gd name="T1" fmla="*/ 828 h 828"/>
                  <a:gd name="T2" fmla="*/ 638 w 767"/>
                  <a:gd name="T3" fmla="*/ 596 h 828"/>
                  <a:gd name="T4" fmla="*/ 276 w 767"/>
                  <a:gd name="T5" fmla="*/ 596 h 828"/>
                  <a:gd name="T6" fmla="*/ 622 w 767"/>
                  <a:gd name="T7" fmla="*/ 0 h 828"/>
                  <a:gd name="T8" fmla="*/ 327 w 767"/>
                  <a:gd name="T9" fmla="*/ 0 h 828"/>
                  <a:gd name="T10" fmla="*/ 0 w 767"/>
                  <a:gd name="T11" fmla="*/ 569 h 828"/>
                  <a:gd name="T12" fmla="*/ 148 w 767"/>
                  <a:gd name="T13" fmla="*/ 828 h 828"/>
                  <a:gd name="T14" fmla="*/ 767 w 767"/>
                  <a:gd name="T15" fmla="*/ 828 h 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 h="828">
                    <a:moveTo>
                      <a:pt x="767" y="828"/>
                    </a:moveTo>
                    <a:lnTo>
                      <a:pt x="638" y="596"/>
                    </a:lnTo>
                    <a:lnTo>
                      <a:pt x="276" y="596"/>
                    </a:lnTo>
                    <a:lnTo>
                      <a:pt x="622" y="0"/>
                    </a:lnTo>
                    <a:lnTo>
                      <a:pt x="327" y="0"/>
                    </a:lnTo>
                    <a:lnTo>
                      <a:pt x="0" y="569"/>
                    </a:lnTo>
                    <a:lnTo>
                      <a:pt x="148" y="828"/>
                    </a:lnTo>
                    <a:lnTo>
                      <a:pt x="767" y="8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
                <a:extLst>
                  <a:ext uri="{FF2B5EF4-FFF2-40B4-BE49-F238E27FC236}">
                    <a16:creationId xmlns:a16="http://schemas.microsoft.com/office/drawing/2014/main" id="{4375789E-E23D-F9B6-40EF-6EAC8C0BF44D}"/>
                  </a:ext>
                </a:extLst>
              </p:cNvPr>
              <p:cNvSpPr>
                <a:spLocks/>
              </p:cNvSpPr>
              <p:nvPr userDrawn="1"/>
            </p:nvSpPr>
            <p:spPr bwMode="auto">
              <a:xfrm>
                <a:off x="2681796" y="2264735"/>
                <a:ext cx="1477964" cy="1309686"/>
              </a:xfrm>
              <a:custGeom>
                <a:avLst/>
                <a:gdLst>
                  <a:gd name="T0" fmla="*/ 309 w 931"/>
                  <a:gd name="T1" fmla="*/ 0 h 825"/>
                  <a:gd name="T2" fmla="*/ 0 w 931"/>
                  <a:gd name="T3" fmla="*/ 539 h 825"/>
                  <a:gd name="T4" fmla="*/ 260 w 931"/>
                  <a:gd name="T5" fmla="*/ 539 h 825"/>
                  <a:gd name="T6" fmla="*/ 437 w 931"/>
                  <a:gd name="T7" fmla="*/ 224 h 825"/>
                  <a:gd name="T8" fmla="*/ 783 w 931"/>
                  <a:gd name="T9" fmla="*/ 825 h 825"/>
                  <a:gd name="T10" fmla="*/ 931 w 931"/>
                  <a:gd name="T11" fmla="*/ 569 h 825"/>
                  <a:gd name="T12" fmla="*/ 604 w 931"/>
                  <a:gd name="T13" fmla="*/ 0 h 825"/>
                  <a:gd name="T14" fmla="*/ 309 w 931"/>
                  <a:gd name="T15" fmla="*/ 0 h 8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825">
                    <a:moveTo>
                      <a:pt x="309" y="0"/>
                    </a:moveTo>
                    <a:lnTo>
                      <a:pt x="0" y="539"/>
                    </a:lnTo>
                    <a:lnTo>
                      <a:pt x="260" y="539"/>
                    </a:lnTo>
                    <a:lnTo>
                      <a:pt x="437" y="224"/>
                    </a:lnTo>
                    <a:lnTo>
                      <a:pt x="783" y="825"/>
                    </a:lnTo>
                    <a:lnTo>
                      <a:pt x="931" y="569"/>
                    </a:lnTo>
                    <a:lnTo>
                      <a:pt x="604" y="0"/>
                    </a:lnTo>
                    <a:lnTo>
                      <a:pt x="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
                <a:extLst>
                  <a:ext uri="{FF2B5EF4-FFF2-40B4-BE49-F238E27FC236}">
                    <a16:creationId xmlns:a16="http://schemas.microsoft.com/office/drawing/2014/main" id="{8F075147-D29C-FA36-6880-61B233CBAFF4}"/>
                  </a:ext>
                </a:extLst>
              </p:cNvPr>
              <p:cNvSpPr>
                <a:spLocks/>
              </p:cNvSpPr>
              <p:nvPr userDrawn="1"/>
            </p:nvSpPr>
            <p:spPr bwMode="auto">
              <a:xfrm>
                <a:off x="2371171" y="2804222"/>
                <a:ext cx="1503362" cy="1266826"/>
              </a:xfrm>
              <a:custGeom>
                <a:avLst/>
                <a:gdLst>
                  <a:gd name="T0" fmla="*/ 633 w 947"/>
                  <a:gd name="T1" fmla="*/ 0 h 798"/>
                  <a:gd name="T2" fmla="*/ 505 w 947"/>
                  <a:gd name="T3" fmla="*/ 229 h 798"/>
                  <a:gd name="T4" fmla="*/ 684 w 947"/>
                  <a:gd name="T5" fmla="*/ 545 h 798"/>
                  <a:gd name="T6" fmla="*/ 0 w 947"/>
                  <a:gd name="T7" fmla="*/ 545 h 798"/>
                  <a:gd name="T8" fmla="*/ 145 w 947"/>
                  <a:gd name="T9" fmla="*/ 798 h 798"/>
                  <a:gd name="T10" fmla="*/ 800 w 947"/>
                  <a:gd name="T11" fmla="*/ 798 h 798"/>
                  <a:gd name="T12" fmla="*/ 947 w 947"/>
                  <a:gd name="T13" fmla="*/ 542 h 798"/>
                  <a:gd name="T14" fmla="*/ 633 w 947"/>
                  <a:gd name="T15" fmla="*/ 0 h 7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7" h="798">
                    <a:moveTo>
                      <a:pt x="633" y="0"/>
                    </a:moveTo>
                    <a:lnTo>
                      <a:pt x="505" y="229"/>
                    </a:lnTo>
                    <a:lnTo>
                      <a:pt x="684" y="545"/>
                    </a:lnTo>
                    <a:lnTo>
                      <a:pt x="0" y="545"/>
                    </a:lnTo>
                    <a:lnTo>
                      <a:pt x="145" y="798"/>
                    </a:lnTo>
                    <a:lnTo>
                      <a:pt x="800" y="798"/>
                    </a:lnTo>
                    <a:lnTo>
                      <a:pt x="947" y="542"/>
                    </a:lnTo>
                    <a:lnTo>
                      <a:pt x="6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6. Caldic_C">
              <a:extLst>
                <a:ext uri="{FF2B5EF4-FFF2-40B4-BE49-F238E27FC236}">
                  <a16:creationId xmlns:a16="http://schemas.microsoft.com/office/drawing/2014/main" id="{C482E159-7931-A5A5-FE73-A7219F471F1C}"/>
                </a:ext>
              </a:extLst>
            </p:cNvPr>
            <p:cNvSpPr/>
            <p:nvPr userDrawn="1"/>
          </p:nvSpPr>
          <p:spPr>
            <a:xfrm>
              <a:off x="6119127" y="3039794"/>
              <a:ext cx="565277" cy="1080000"/>
            </a:xfrm>
            <a:custGeom>
              <a:avLst/>
              <a:gdLst>
                <a:gd name="connsiteX0" fmla="*/ 474730 w 716639"/>
                <a:gd name="connsiteY0" fmla="*/ 1019295 h 1369187"/>
                <a:gd name="connsiteX1" fmla="*/ 472877 w 716639"/>
                <a:gd name="connsiteY1" fmla="*/ 1077900 h 1369187"/>
                <a:gd name="connsiteX2" fmla="*/ 460909 w 716639"/>
                <a:gd name="connsiteY2" fmla="*/ 1129980 h 1369187"/>
                <a:gd name="connsiteX3" fmla="*/ 427669 w 716639"/>
                <a:gd name="connsiteY3" fmla="*/ 1167197 h 1369187"/>
                <a:gd name="connsiteX4" fmla="*/ 362037 w 716639"/>
                <a:gd name="connsiteY4" fmla="*/ 1181134 h 1369187"/>
                <a:gd name="connsiteX5" fmla="*/ 297448 w 716639"/>
                <a:gd name="connsiteY5" fmla="*/ 1169050 h 1369187"/>
                <a:gd name="connsiteX6" fmla="*/ 261467 w 716639"/>
                <a:gd name="connsiteY6" fmla="*/ 1136505 h 1369187"/>
                <a:gd name="connsiteX7" fmla="*/ 245792 w 716639"/>
                <a:gd name="connsiteY7" fmla="*/ 1089057 h 1369187"/>
                <a:gd name="connsiteX8" fmla="*/ 241932 w 716639"/>
                <a:gd name="connsiteY8" fmla="*/ 1032305 h 1369187"/>
                <a:gd name="connsiteX9" fmla="*/ 241932 w 716639"/>
                <a:gd name="connsiteY9" fmla="*/ 329200 h 1369187"/>
                <a:gd name="connsiteX10" fmla="*/ 244711 w 716639"/>
                <a:gd name="connsiteY10" fmla="*/ 281752 h 1369187"/>
                <a:gd name="connsiteX11" fmla="*/ 258532 w 716639"/>
                <a:gd name="connsiteY11" fmla="*/ 235424 h 1369187"/>
                <a:gd name="connsiteX12" fmla="*/ 291773 w 716639"/>
                <a:gd name="connsiteY12" fmla="*/ 200060 h 1369187"/>
                <a:gd name="connsiteX13" fmla="*/ 352695 w 716639"/>
                <a:gd name="connsiteY13" fmla="*/ 186123 h 1369187"/>
                <a:gd name="connsiteX14" fmla="*/ 415392 w 716639"/>
                <a:gd name="connsiteY14" fmla="*/ 196354 h 1369187"/>
                <a:gd name="connsiteX15" fmla="*/ 452300 w 716639"/>
                <a:gd name="connsiteY15" fmla="*/ 226120 h 1369187"/>
                <a:gd name="connsiteX16" fmla="*/ 469828 w 716639"/>
                <a:gd name="connsiteY16" fmla="*/ 274455 h 1369187"/>
                <a:gd name="connsiteX17" fmla="*/ 474460 w 716639"/>
                <a:gd name="connsiteY17" fmla="*/ 340511 h 1369187"/>
                <a:gd name="connsiteX18" fmla="*/ 474460 w 716639"/>
                <a:gd name="connsiteY18" fmla="*/ 490769 h 1369187"/>
                <a:gd name="connsiteX19" fmla="*/ 716292 w 716639"/>
                <a:gd name="connsiteY19" fmla="*/ 490769 h 1369187"/>
                <a:gd name="connsiteX20" fmla="*/ 716292 w 716639"/>
                <a:gd name="connsiteY20" fmla="*/ 304993 h 1369187"/>
                <a:gd name="connsiteX21" fmla="*/ 710694 w 716639"/>
                <a:gd name="connsiteY21" fmla="*/ 217587 h 1369187"/>
                <a:gd name="connsiteX22" fmla="*/ 671625 w 716639"/>
                <a:gd name="connsiteY22" fmla="*/ 117210 h 1369187"/>
                <a:gd name="connsiteX23" fmla="*/ 565610 w 716639"/>
                <a:gd name="connsiteY23" fmla="*/ 34437 h 1369187"/>
                <a:gd name="connsiteX24" fmla="*/ 359142 w 716639"/>
                <a:gd name="connsiteY24" fmla="*/ 0 h 1369187"/>
                <a:gd name="connsiteX25" fmla="*/ 305092 w 716639"/>
                <a:gd name="connsiteY25" fmla="*/ 1892 h 1369187"/>
                <a:gd name="connsiteX26" fmla="*/ 228844 w 716639"/>
                <a:gd name="connsiteY26" fmla="*/ 13976 h 1369187"/>
                <a:gd name="connsiteX27" fmla="*/ 144218 w 716639"/>
                <a:gd name="connsiteY27" fmla="*/ 44861 h 1369187"/>
                <a:gd name="connsiteX28" fmla="*/ 65151 w 716639"/>
                <a:gd name="connsiteY28" fmla="*/ 104393 h 1369187"/>
                <a:gd name="connsiteX29" fmla="*/ 10291 w 716639"/>
                <a:gd name="connsiteY29" fmla="*/ 210407 h 1369187"/>
                <a:gd name="connsiteX30" fmla="*/ 60 w 716639"/>
                <a:gd name="connsiteY30" fmla="*/ 348078 h 1369187"/>
                <a:gd name="connsiteX31" fmla="*/ 60 w 716639"/>
                <a:gd name="connsiteY31" fmla="*/ 1062303 h 1369187"/>
                <a:gd name="connsiteX32" fmla="*/ 1913 w 716639"/>
                <a:gd name="connsiteY32" fmla="*/ 1121834 h 1369187"/>
                <a:gd name="connsiteX33" fmla="*/ 13071 w 716639"/>
                <a:gd name="connsiteY33" fmla="*/ 1186037 h 1369187"/>
                <a:gd name="connsiteX34" fmla="*/ 43956 w 716639"/>
                <a:gd name="connsiteY34" fmla="*/ 1249275 h 1369187"/>
                <a:gd name="connsiteX35" fmla="*/ 104414 w 716639"/>
                <a:gd name="connsiteY35" fmla="*/ 1305988 h 1369187"/>
                <a:gd name="connsiteX36" fmla="*/ 234596 w 716639"/>
                <a:gd name="connsiteY36" fmla="*/ 1356177 h 1369187"/>
                <a:gd name="connsiteX37" fmla="*/ 359257 w 716639"/>
                <a:gd name="connsiteY37" fmla="*/ 1369187 h 1369187"/>
                <a:gd name="connsiteX38" fmla="*/ 565726 w 716639"/>
                <a:gd name="connsiteY38" fmla="*/ 1332009 h 1369187"/>
                <a:gd name="connsiteX39" fmla="*/ 671740 w 716639"/>
                <a:gd name="connsiteY39" fmla="*/ 1241785 h 1369187"/>
                <a:gd name="connsiteX40" fmla="*/ 711042 w 716639"/>
                <a:gd name="connsiteY40" fmla="*/ 1130907 h 1369187"/>
                <a:gd name="connsiteX41" fmla="*/ 716640 w 716639"/>
                <a:gd name="connsiteY41" fmla="*/ 1034197 h 1369187"/>
                <a:gd name="connsiteX42" fmla="*/ 716640 w 716639"/>
                <a:gd name="connsiteY42" fmla="*/ 848151 h 1369187"/>
                <a:gd name="connsiteX43" fmla="*/ 474808 w 716639"/>
                <a:gd name="connsiteY43" fmla="*/ 848151 h 136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6639" h="1369187">
                  <a:moveTo>
                    <a:pt x="474730" y="1019295"/>
                  </a:moveTo>
                  <a:cubicBezTo>
                    <a:pt x="474730" y="1039139"/>
                    <a:pt x="474074" y="1058674"/>
                    <a:pt x="472877" y="1077900"/>
                  </a:cubicBezTo>
                  <a:cubicBezTo>
                    <a:pt x="471934" y="1095822"/>
                    <a:pt x="467884" y="1113444"/>
                    <a:pt x="460909" y="1129980"/>
                  </a:cubicBezTo>
                  <a:cubicBezTo>
                    <a:pt x="454035" y="1145583"/>
                    <a:pt x="442400" y="1158611"/>
                    <a:pt x="427669" y="1167197"/>
                  </a:cubicBezTo>
                  <a:cubicBezTo>
                    <a:pt x="412226" y="1176514"/>
                    <a:pt x="390349" y="1181160"/>
                    <a:pt x="362037" y="1181134"/>
                  </a:cubicBezTo>
                  <a:cubicBezTo>
                    <a:pt x="334961" y="1181134"/>
                    <a:pt x="313431" y="1177106"/>
                    <a:pt x="297448" y="1169050"/>
                  </a:cubicBezTo>
                  <a:cubicBezTo>
                    <a:pt x="282529" y="1161955"/>
                    <a:pt x="270018" y="1150640"/>
                    <a:pt x="261467" y="1136505"/>
                  </a:cubicBezTo>
                  <a:cubicBezTo>
                    <a:pt x="253134" y="1121891"/>
                    <a:pt x="247805" y="1105759"/>
                    <a:pt x="245792" y="1089057"/>
                  </a:cubicBezTo>
                  <a:cubicBezTo>
                    <a:pt x="243213" y="1070250"/>
                    <a:pt x="241923" y="1051288"/>
                    <a:pt x="241932" y="1032305"/>
                  </a:cubicBezTo>
                  <a:lnTo>
                    <a:pt x="241932" y="329200"/>
                  </a:lnTo>
                  <a:cubicBezTo>
                    <a:pt x="241988" y="313345"/>
                    <a:pt x="242916" y="297505"/>
                    <a:pt x="244711" y="281752"/>
                  </a:cubicBezTo>
                  <a:cubicBezTo>
                    <a:pt x="246399" y="265585"/>
                    <a:pt x="251087" y="249874"/>
                    <a:pt x="258532" y="235424"/>
                  </a:cubicBezTo>
                  <a:cubicBezTo>
                    <a:pt x="266205" y="220843"/>
                    <a:pt x="277694" y="208620"/>
                    <a:pt x="291773" y="200060"/>
                  </a:cubicBezTo>
                  <a:cubicBezTo>
                    <a:pt x="306521" y="190743"/>
                    <a:pt x="326828" y="186097"/>
                    <a:pt x="352695" y="186123"/>
                  </a:cubicBezTo>
                  <a:cubicBezTo>
                    <a:pt x="378561" y="186149"/>
                    <a:pt x="399460" y="189559"/>
                    <a:pt x="415392" y="196354"/>
                  </a:cubicBezTo>
                  <a:cubicBezTo>
                    <a:pt x="430386" y="202376"/>
                    <a:pt x="443238" y="212741"/>
                    <a:pt x="452300" y="226120"/>
                  </a:cubicBezTo>
                  <a:cubicBezTo>
                    <a:pt x="461516" y="240800"/>
                    <a:pt x="467492" y="257279"/>
                    <a:pt x="469828" y="274455"/>
                  </a:cubicBezTo>
                  <a:cubicBezTo>
                    <a:pt x="473104" y="296318"/>
                    <a:pt x="474653" y="318405"/>
                    <a:pt x="474460" y="340511"/>
                  </a:cubicBezTo>
                  <a:lnTo>
                    <a:pt x="474460" y="490769"/>
                  </a:lnTo>
                  <a:lnTo>
                    <a:pt x="716292" y="490769"/>
                  </a:lnTo>
                  <a:lnTo>
                    <a:pt x="716292" y="304993"/>
                  </a:lnTo>
                  <a:cubicBezTo>
                    <a:pt x="715929" y="275781"/>
                    <a:pt x="714061" y="246607"/>
                    <a:pt x="710694" y="217587"/>
                  </a:cubicBezTo>
                  <a:cubicBezTo>
                    <a:pt x="706370" y="181363"/>
                    <a:pt x="692927" y="146827"/>
                    <a:pt x="671625" y="117210"/>
                  </a:cubicBezTo>
                  <a:cubicBezTo>
                    <a:pt x="649310" y="84986"/>
                    <a:pt x="613972" y="57395"/>
                    <a:pt x="565610" y="34437"/>
                  </a:cubicBezTo>
                  <a:cubicBezTo>
                    <a:pt x="517249" y="11479"/>
                    <a:pt x="448426" y="0"/>
                    <a:pt x="359142" y="0"/>
                  </a:cubicBezTo>
                  <a:cubicBezTo>
                    <a:pt x="346710" y="0"/>
                    <a:pt x="328694" y="631"/>
                    <a:pt x="305092" y="1892"/>
                  </a:cubicBezTo>
                  <a:cubicBezTo>
                    <a:pt x="279349" y="3481"/>
                    <a:pt x="253817" y="7527"/>
                    <a:pt x="228844" y="13976"/>
                  </a:cubicBezTo>
                  <a:cubicBezTo>
                    <a:pt x="199709" y="21530"/>
                    <a:pt x="171370" y="31873"/>
                    <a:pt x="144218" y="44861"/>
                  </a:cubicBezTo>
                  <a:cubicBezTo>
                    <a:pt x="114137" y="59202"/>
                    <a:pt x="87248" y="79447"/>
                    <a:pt x="65151" y="104393"/>
                  </a:cubicBezTo>
                  <a:cubicBezTo>
                    <a:pt x="35373" y="136642"/>
                    <a:pt x="17086" y="171980"/>
                    <a:pt x="10291" y="210407"/>
                  </a:cubicBezTo>
                  <a:cubicBezTo>
                    <a:pt x="2916" y="255916"/>
                    <a:pt x="-507" y="301978"/>
                    <a:pt x="60" y="348078"/>
                  </a:cubicBezTo>
                  <a:lnTo>
                    <a:pt x="60" y="1062303"/>
                  </a:lnTo>
                  <a:cubicBezTo>
                    <a:pt x="60" y="1080911"/>
                    <a:pt x="640" y="1100909"/>
                    <a:pt x="1913" y="1121834"/>
                  </a:cubicBezTo>
                  <a:cubicBezTo>
                    <a:pt x="3234" y="1143583"/>
                    <a:pt x="6975" y="1165118"/>
                    <a:pt x="13071" y="1186037"/>
                  </a:cubicBezTo>
                  <a:cubicBezTo>
                    <a:pt x="19764" y="1208693"/>
                    <a:pt x="30204" y="1230067"/>
                    <a:pt x="43956" y="1249275"/>
                  </a:cubicBezTo>
                  <a:cubicBezTo>
                    <a:pt x="60374" y="1271804"/>
                    <a:pt x="80883" y="1291043"/>
                    <a:pt x="104414" y="1305988"/>
                  </a:cubicBezTo>
                  <a:cubicBezTo>
                    <a:pt x="144022" y="1331242"/>
                    <a:pt x="188287" y="1348307"/>
                    <a:pt x="234596" y="1356177"/>
                  </a:cubicBezTo>
                  <a:cubicBezTo>
                    <a:pt x="275696" y="1364106"/>
                    <a:pt x="317406" y="1368459"/>
                    <a:pt x="359257" y="1369187"/>
                  </a:cubicBezTo>
                  <a:cubicBezTo>
                    <a:pt x="448516" y="1369187"/>
                    <a:pt x="517339" y="1356795"/>
                    <a:pt x="565726" y="1332009"/>
                  </a:cubicBezTo>
                  <a:cubicBezTo>
                    <a:pt x="614113" y="1307224"/>
                    <a:pt x="649451" y="1277149"/>
                    <a:pt x="671740" y="1241785"/>
                  </a:cubicBezTo>
                  <a:cubicBezTo>
                    <a:pt x="693452" y="1208467"/>
                    <a:pt x="706923" y="1170461"/>
                    <a:pt x="711042" y="1130907"/>
                  </a:cubicBezTo>
                  <a:cubicBezTo>
                    <a:pt x="714748" y="1092480"/>
                    <a:pt x="716614" y="1060243"/>
                    <a:pt x="716640" y="1034197"/>
                  </a:cubicBezTo>
                  <a:lnTo>
                    <a:pt x="716640" y="848151"/>
                  </a:lnTo>
                  <a:lnTo>
                    <a:pt x="474808" y="848151"/>
                  </a:lnTo>
                  <a:close/>
                </a:path>
              </a:pathLst>
            </a:custGeom>
            <a:grpFill/>
            <a:ln w="3861" cap="flat">
              <a:noFill/>
              <a:prstDash val="solid"/>
              <a:miter/>
            </a:ln>
          </p:spPr>
          <p:txBody>
            <a:bodyPr rtlCol="0" anchor="ctr"/>
            <a:lstStyle/>
            <a:p>
              <a:endParaRPr lang="en-US"/>
            </a:p>
          </p:txBody>
        </p:sp>
        <p:sp>
          <p:nvSpPr>
            <p:cNvPr id="60" name="5. Caldic_I">
              <a:extLst>
                <a:ext uri="{FF2B5EF4-FFF2-40B4-BE49-F238E27FC236}">
                  <a16:creationId xmlns:a16="http://schemas.microsoft.com/office/drawing/2014/main" id="{B9393324-6D2E-D476-BC8C-55A452A71099}"/>
                </a:ext>
              </a:extLst>
            </p:cNvPr>
            <p:cNvSpPr/>
            <p:nvPr userDrawn="1"/>
          </p:nvSpPr>
          <p:spPr>
            <a:xfrm>
              <a:off x="5758251" y="3061781"/>
              <a:ext cx="190877" cy="1035874"/>
            </a:xfrm>
            <a:custGeom>
              <a:avLst/>
              <a:gdLst>
                <a:gd name="connsiteX0" fmla="*/ 0 w 241987"/>
                <a:gd name="connsiteY0" fmla="*/ 0 h 1313246"/>
                <a:gd name="connsiteX1" fmla="*/ 241987 w 241987"/>
                <a:gd name="connsiteY1" fmla="*/ 0 h 1313246"/>
                <a:gd name="connsiteX2" fmla="*/ 241987 w 241987"/>
                <a:gd name="connsiteY2" fmla="*/ 1313246 h 1313246"/>
                <a:gd name="connsiteX3" fmla="*/ 193 w 241987"/>
                <a:gd name="connsiteY3" fmla="*/ 1313246 h 1313246"/>
              </a:gdLst>
              <a:ahLst/>
              <a:cxnLst>
                <a:cxn ang="0">
                  <a:pos x="connsiteX0" y="connsiteY0"/>
                </a:cxn>
                <a:cxn ang="0">
                  <a:pos x="connsiteX1" y="connsiteY1"/>
                </a:cxn>
                <a:cxn ang="0">
                  <a:pos x="connsiteX2" y="connsiteY2"/>
                </a:cxn>
                <a:cxn ang="0">
                  <a:pos x="connsiteX3" y="connsiteY3"/>
                </a:cxn>
              </a:cxnLst>
              <a:rect l="l" t="t" r="r" b="b"/>
              <a:pathLst>
                <a:path w="241987" h="1313246">
                  <a:moveTo>
                    <a:pt x="0" y="0"/>
                  </a:moveTo>
                  <a:lnTo>
                    <a:pt x="241987" y="0"/>
                  </a:lnTo>
                  <a:lnTo>
                    <a:pt x="241987" y="1313246"/>
                  </a:lnTo>
                  <a:lnTo>
                    <a:pt x="193" y="1313246"/>
                  </a:lnTo>
                  <a:close/>
                </a:path>
              </a:pathLst>
            </a:custGeom>
            <a:grpFill/>
            <a:ln w="3861" cap="flat">
              <a:noFill/>
              <a:prstDash val="solid"/>
              <a:miter/>
            </a:ln>
          </p:spPr>
          <p:txBody>
            <a:bodyPr rtlCol="0" anchor="ctr"/>
            <a:lstStyle/>
            <a:p>
              <a:endParaRPr lang="en-US"/>
            </a:p>
          </p:txBody>
        </p:sp>
        <p:sp>
          <p:nvSpPr>
            <p:cNvPr id="61" name="4. Caldic_D">
              <a:extLst>
                <a:ext uri="{FF2B5EF4-FFF2-40B4-BE49-F238E27FC236}">
                  <a16:creationId xmlns:a16="http://schemas.microsoft.com/office/drawing/2014/main" id="{527D6994-23F9-BC10-D10A-9A13CB73743E}"/>
                </a:ext>
              </a:extLst>
            </p:cNvPr>
            <p:cNvSpPr/>
            <p:nvPr userDrawn="1"/>
          </p:nvSpPr>
          <p:spPr>
            <a:xfrm>
              <a:off x="5022182" y="3061781"/>
              <a:ext cx="569294" cy="1035874"/>
            </a:xfrm>
            <a:custGeom>
              <a:avLst/>
              <a:gdLst>
                <a:gd name="connsiteX0" fmla="*/ 0 w 721731"/>
                <a:gd name="connsiteY0" fmla="*/ 0 h 1313246"/>
                <a:gd name="connsiteX1" fmla="*/ 390623 w 721731"/>
                <a:gd name="connsiteY1" fmla="*/ 0 h 1313246"/>
                <a:gd name="connsiteX2" fmla="*/ 452007 w 721731"/>
                <a:gd name="connsiteY2" fmla="*/ 927 h 1313246"/>
                <a:gd name="connsiteX3" fmla="*/ 516172 w 721731"/>
                <a:gd name="connsiteY3" fmla="*/ 10231 h 1313246"/>
                <a:gd name="connsiteX4" fmla="*/ 581262 w 721731"/>
                <a:gd name="connsiteY4" fmla="*/ 35325 h 1313246"/>
                <a:gd name="connsiteX5" fmla="*/ 643574 w 721731"/>
                <a:gd name="connsiteY5" fmla="*/ 81846 h 1313246"/>
                <a:gd name="connsiteX6" fmla="*/ 708704 w 721731"/>
                <a:gd name="connsiteY6" fmla="*/ 201836 h 1313246"/>
                <a:gd name="connsiteX7" fmla="*/ 721714 w 721731"/>
                <a:gd name="connsiteY7" fmla="*/ 345955 h 1313246"/>
                <a:gd name="connsiteX8" fmla="*/ 721714 w 721731"/>
                <a:gd name="connsiteY8" fmla="*/ 959802 h 1313246"/>
                <a:gd name="connsiteX9" fmla="*/ 712410 w 721731"/>
                <a:gd name="connsiteY9" fmla="*/ 1091875 h 1313246"/>
                <a:gd name="connsiteX10" fmla="*/ 669634 w 721731"/>
                <a:gd name="connsiteY10" fmla="*/ 1204414 h 1313246"/>
                <a:gd name="connsiteX11" fmla="*/ 569256 w 721731"/>
                <a:gd name="connsiteY11" fmla="*/ 1283480 h 1313246"/>
                <a:gd name="connsiteX12" fmla="*/ 388847 w 721731"/>
                <a:gd name="connsiteY12" fmla="*/ 1313246 h 1313246"/>
                <a:gd name="connsiteX13" fmla="*/ 77 w 721731"/>
                <a:gd name="connsiteY13" fmla="*/ 1313246 h 1313246"/>
                <a:gd name="connsiteX14" fmla="*/ 241794 w 721731"/>
                <a:gd name="connsiteY14" fmla="*/ 1121641 h 1313246"/>
                <a:gd name="connsiteX15" fmla="*/ 351592 w 721731"/>
                <a:gd name="connsiteY15" fmla="*/ 1121641 h 1313246"/>
                <a:gd name="connsiteX16" fmla="*/ 376531 w 721731"/>
                <a:gd name="connsiteY16" fmla="*/ 1120714 h 1313246"/>
                <a:gd name="connsiteX17" fmla="*/ 393132 w 721731"/>
                <a:gd name="connsiteY17" fmla="*/ 1117935 h 1313246"/>
                <a:gd name="connsiteX18" fmla="*/ 443900 w 721731"/>
                <a:gd name="connsiteY18" fmla="*/ 1097473 h 1313246"/>
                <a:gd name="connsiteX19" fmla="*/ 469728 w 721731"/>
                <a:gd name="connsiteY19" fmla="*/ 1062110 h 1313246"/>
                <a:gd name="connsiteX20" fmla="*/ 478955 w 721731"/>
                <a:gd name="connsiteY20" fmla="*/ 1020260 h 1313246"/>
                <a:gd name="connsiteX21" fmla="*/ 479882 w 721731"/>
                <a:gd name="connsiteY21" fmla="*/ 980263 h 1313246"/>
                <a:gd name="connsiteX22" fmla="*/ 479882 w 721731"/>
                <a:gd name="connsiteY22" fmla="*/ 325455 h 1313246"/>
                <a:gd name="connsiteX23" fmla="*/ 472508 w 721731"/>
                <a:gd name="connsiteY23" fmla="*/ 254766 h 1313246"/>
                <a:gd name="connsiteX24" fmla="*/ 447568 w 721731"/>
                <a:gd name="connsiteY24" fmla="*/ 214769 h 1313246"/>
                <a:gd name="connsiteX25" fmla="*/ 402360 w 721731"/>
                <a:gd name="connsiteY25" fmla="*/ 196161 h 1313246"/>
                <a:gd name="connsiteX26" fmla="*/ 335956 w 721731"/>
                <a:gd name="connsiteY26" fmla="*/ 191528 h 1313246"/>
                <a:gd name="connsiteX27" fmla="*/ 241794 w 721731"/>
                <a:gd name="connsiteY27" fmla="*/ 191528 h 131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21731" h="1313246">
                  <a:moveTo>
                    <a:pt x="0" y="0"/>
                  </a:moveTo>
                  <a:lnTo>
                    <a:pt x="390623" y="0"/>
                  </a:lnTo>
                  <a:cubicBezTo>
                    <a:pt x="410441" y="0"/>
                    <a:pt x="430903" y="309"/>
                    <a:pt x="452007" y="927"/>
                  </a:cubicBezTo>
                  <a:cubicBezTo>
                    <a:pt x="473674" y="1642"/>
                    <a:pt x="495194" y="4762"/>
                    <a:pt x="516172" y="10231"/>
                  </a:cubicBezTo>
                  <a:cubicBezTo>
                    <a:pt x="538740" y="16131"/>
                    <a:pt x="560574" y="24549"/>
                    <a:pt x="581262" y="35325"/>
                  </a:cubicBezTo>
                  <a:cubicBezTo>
                    <a:pt x="604324" y="47500"/>
                    <a:pt x="625347" y="63196"/>
                    <a:pt x="643574" y="81846"/>
                  </a:cubicBezTo>
                  <a:cubicBezTo>
                    <a:pt x="678294" y="117879"/>
                    <a:pt x="700004" y="157876"/>
                    <a:pt x="708704" y="201836"/>
                  </a:cubicBezTo>
                  <a:cubicBezTo>
                    <a:pt x="717685" y="249343"/>
                    <a:pt x="722043" y="297608"/>
                    <a:pt x="721714" y="345955"/>
                  </a:cubicBezTo>
                  <a:lnTo>
                    <a:pt x="721714" y="959802"/>
                  </a:lnTo>
                  <a:cubicBezTo>
                    <a:pt x="721823" y="1003994"/>
                    <a:pt x="718713" y="1048135"/>
                    <a:pt x="712410" y="1091875"/>
                  </a:cubicBezTo>
                  <a:cubicBezTo>
                    <a:pt x="706919" y="1132159"/>
                    <a:pt x="692287" y="1170654"/>
                    <a:pt x="669634" y="1204414"/>
                  </a:cubicBezTo>
                  <a:cubicBezTo>
                    <a:pt x="647319" y="1237255"/>
                    <a:pt x="613859" y="1263611"/>
                    <a:pt x="569256" y="1283480"/>
                  </a:cubicBezTo>
                  <a:cubicBezTo>
                    <a:pt x="524653" y="1303350"/>
                    <a:pt x="464516" y="1313272"/>
                    <a:pt x="388847" y="1313246"/>
                  </a:cubicBezTo>
                  <a:lnTo>
                    <a:pt x="77" y="1313246"/>
                  </a:lnTo>
                  <a:close/>
                  <a:moveTo>
                    <a:pt x="241794" y="1121641"/>
                  </a:moveTo>
                  <a:lnTo>
                    <a:pt x="351592" y="1121641"/>
                  </a:lnTo>
                  <a:cubicBezTo>
                    <a:pt x="362067" y="1121641"/>
                    <a:pt x="370380" y="1121332"/>
                    <a:pt x="376531" y="1120714"/>
                  </a:cubicBezTo>
                  <a:cubicBezTo>
                    <a:pt x="382124" y="1120188"/>
                    <a:pt x="387673" y="1119259"/>
                    <a:pt x="393132" y="1117935"/>
                  </a:cubicBezTo>
                  <a:cubicBezTo>
                    <a:pt x="415293" y="1114203"/>
                    <a:pt x="432215" y="1107382"/>
                    <a:pt x="443900" y="1097473"/>
                  </a:cubicBezTo>
                  <a:cubicBezTo>
                    <a:pt x="455274" y="1087977"/>
                    <a:pt x="464142" y="1075833"/>
                    <a:pt x="469728" y="1062110"/>
                  </a:cubicBezTo>
                  <a:cubicBezTo>
                    <a:pt x="475187" y="1048794"/>
                    <a:pt x="478309" y="1034636"/>
                    <a:pt x="478955" y="1020260"/>
                  </a:cubicBezTo>
                  <a:cubicBezTo>
                    <a:pt x="479572" y="1006001"/>
                    <a:pt x="479882" y="992669"/>
                    <a:pt x="479882" y="980263"/>
                  </a:cubicBezTo>
                  <a:lnTo>
                    <a:pt x="479882" y="325455"/>
                  </a:lnTo>
                  <a:cubicBezTo>
                    <a:pt x="479882" y="295676"/>
                    <a:pt x="477423" y="272113"/>
                    <a:pt x="472508" y="254766"/>
                  </a:cubicBezTo>
                  <a:cubicBezTo>
                    <a:pt x="468662" y="239119"/>
                    <a:pt x="459925" y="225108"/>
                    <a:pt x="447568" y="214769"/>
                  </a:cubicBezTo>
                  <a:cubicBezTo>
                    <a:pt x="434330" y="204817"/>
                    <a:pt x="418768" y="198411"/>
                    <a:pt x="402360" y="196161"/>
                  </a:cubicBezTo>
                  <a:cubicBezTo>
                    <a:pt x="380387" y="192816"/>
                    <a:pt x="358180" y="191266"/>
                    <a:pt x="335956" y="191528"/>
                  </a:cubicBezTo>
                  <a:lnTo>
                    <a:pt x="241794" y="191528"/>
                  </a:lnTo>
                  <a:close/>
                </a:path>
              </a:pathLst>
            </a:custGeom>
            <a:grpFill/>
            <a:ln w="3861" cap="flat">
              <a:noFill/>
              <a:prstDash val="solid"/>
              <a:miter/>
            </a:ln>
          </p:spPr>
          <p:txBody>
            <a:bodyPr rtlCol="0" anchor="ctr"/>
            <a:lstStyle/>
            <a:p>
              <a:endParaRPr lang="en-US"/>
            </a:p>
          </p:txBody>
        </p:sp>
        <p:sp>
          <p:nvSpPr>
            <p:cNvPr id="62" name="3. Caldic_L">
              <a:extLst>
                <a:ext uri="{FF2B5EF4-FFF2-40B4-BE49-F238E27FC236}">
                  <a16:creationId xmlns:a16="http://schemas.microsoft.com/office/drawing/2014/main" id="{78403BC6-BBCD-AC21-CF95-35378AF6FD78}"/>
                </a:ext>
              </a:extLst>
            </p:cNvPr>
            <p:cNvSpPr/>
            <p:nvPr userDrawn="1"/>
          </p:nvSpPr>
          <p:spPr>
            <a:xfrm>
              <a:off x="4506102" y="3061781"/>
              <a:ext cx="435319" cy="1035874"/>
            </a:xfrm>
            <a:custGeom>
              <a:avLst/>
              <a:gdLst>
                <a:gd name="connsiteX0" fmla="*/ 0 w 551882"/>
                <a:gd name="connsiteY0" fmla="*/ 0 h 1313246"/>
                <a:gd name="connsiteX1" fmla="*/ 241794 w 551882"/>
                <a:gd name="connsiteY1" fmla="*/ 0 h 1313246"/>
                <a:gd name="connsiteX2" fmla="*/ 241794 w 551882"/>
                <a:gd name="connsiteY2" fmla="*/ 1114190 h 1313246"/>
                <a:gd name="connsiteX3" fmla="*/ 551883 w 551882"/>
                <a:gd name="connsiteY3" fmla="*/ 1114190 h 1313246"/>
                <a:gd name="connsiteX4" fmla="*/ 551883 w 551882"/>
                <a:gd name="connsiteY4" fmla="*/ 1313246 h 1313246"/>
                <a:gd name="connsiteX5" fmla="*/ 0 w 551882"/>
                <a:gd name="connsiteY5" fmla="*/ 1313246 h 131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1882" h="1313246">
                  <a:moveTo>
                    <a:pt x="0" y="0"/>
                  </a:moveTo>
                  <a:lnTo>
                    <a:pt x="241794" y="0"/>
                  </a:lnTo>
                  <a:lnTo>
                    <a:pt x="241794" y="1114190"/>
                  </a:lnTo>
                  <a:lnTo>
                    <a:pt x="551883" y="1114190"/>
                  </a:lnTo>
                  <a:lnTo>
                    <a:pt x="551883" y="1313246"/>
                  </a:lnTo>
                  <a:lnTo>
                    <a:pt x="0" y="1313246"/>
                  </a:lnTo>
                  <a:close/>
                </a:path>
              </a:pathLst>
            </a:custGeom>
            <a:grpFill/>
            <a:ln w="3861" cap="flat">
              <a:noFill/>
              <a:prstDash val="solid"/>
              <a:miter/>
            </a:ln>
          </p:spPr>
          <p:txBody>
            <a:bodyPr rtlCol="0" anchor="ctr"/>
            <a:lstStyle/>
            <a:p>
              <a:endParaRPr lang="en-US"/>
            </a:p>
          </p:txBody>
        </p:sp>
        <p:sp>
          <p:nvSpPr>
            <p:cNvPr id="63" name="2. Caldic_A">
              <a:extLst>
                <a:ext uri="{FF2B5EF4-FFF2-40B4-BE49-F238E27FC236}">
                  <a16:creationId xmlns:a16="http://schemas.microsoft.com/office/drawing/2014/main" id="{EE1F82FA-EB72-AE36-41A8-CF7E8D6E7674}"/>
                </a:ext>
              </a:extLst>
            </p:cNvPr>
            <p:cNvSpPr/>
            <p:nvPr userDrawn="1"/>
          </p:nvSpPr>
          <p:spPr>
            <a:xfrm>
              <a:off x="3791563" y="3061781"/>
              <a:ext cx="613284" cy="1035874"/>
            </a:xfrm>
            <a:custGeom>
              <a:avLst/>
              <a:gdLst>
                <a:gd name="connsiteX0" fmla="*/ 254843 w 777500"/>
                <a:gd name="connsiteY0" fmla="*/ 0 h 1313246"/>
                <a:gd name="connsiteX1" fmla="*/ 532000 w 777500"/>
                <a:gd name="connsiteY1" fmla="*/ 0 h 1313246"/>
                <a:gd name="connsiteX2" fmla="*/ 777501 w 777500"/>
                <a:gd name="connsiteY2" fmla="*/ 1313246 h 1313246"/>
                <a:gd name="connsiteX3" fmla="*/ 537097 w 777500"/>
                <a:gd name="connsiteY3" fmla="*/ 1313246 h 1313246"/>
                <a:gd name="connsiteX4" fmla="*/ 505478 w 777500"/>
                <a:gd name="connsiteY4" fmla="*/ 1099326 h 1313246"/>
                <a:gd name="connsiteX5" fmla="*/ 272177 w 777500"/>
                <a:gd name="connsiteY5" fmla="*/ 1099326 h 1313246"/>
                <a:gd name="connsiteX6" fmla="*/ 236814 w 777500"/>
                <a:gd name="connsiteY6" fmla="*/ 1313246 h 1313246"/>
                <a:gd name="connsiteX7" fmla="*/ 0 w 777500"/>
                <a:gd name="connsiteY7" fmla="*/ 1313246 h 1313246"/>
                <a:gd name="connsiteX8" fmla="*/ 300283 w 777500"/>
                <a:gd name="connsiteY8" fmla="*/ 902509 h 1313246"/>
                <a:gd name="connsiteX9" fmla="*/ 480963 w 777500"/>
                <a:gd name="connsiteY9" fmla="*/ 902509 h 1313246"/>
                <a:gd name="connsiteX10" fmla="*/ 394329 w 777500"/>
                <a:gd name="connsiteY10" fmla="*/ 332944 h 131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500" h="1313246">
                  <a:moveTo>
                    <a:pt x="254843" y="0"/>
                  </a:moveTo>
                  <a:lnTo>
                    <a:pt x="532000" y="0"/>
                  </a:lnTo>
                  <a:lnTo>
                    <a:pt x="777501" y="1313246"/>
                  </a:lnTo>
                  <a:lnTo>
                    <a:pt x="537097" y="1313246"/>
                  </a:lnTo>
                  <a:lnTo>
                    <a:pt x="505478" y="1099326"/>
                  </a:lnTo>
                  <a:lnTo>
                    <a:pt x="272177" y="1099326"/>
                  </a:lnTo>
                  <a:lnTo>
                    <a:pt x="236814" y="1313246"/>
                  </a:lnTo>
                  <a:lnTo>
                    <a:pt x="0" y="1313246"/>
                  </a:lnTo>
                  <a:close/>
                  <a:moveTo>
                    <a:pt x="300283" y="902509"/>
                  </a:moveTo>
                  <a:lnTo>
                    <a:pt x="480963" y="902509"/>
                  </a:lnTo>
                  <a:lnTo>
                    <a:pt x="394329" y="332944"/>
                  </a:lnTo>
                  <a:close/>
                </a:path>
              </a:pathLst>
            </a:custGeom>
            <a:grpFill/>
            <a:ln w="3861" cap="flat">
              <a:noFill/>
              <a:prstDash val="solid"/>
              <a:miter/>
            </a:ln>
          </p:spPr>
          <p:txBody>
            <a:bodyPr rtlCol="0" anchor="ctr"/>
            <a:lstStyle/>
            <a:p>
              <a:endParaRPr lang="en-US"/>
            </a:p>
          </p:txBody>
        </p:sp>
        <p:sp>
          <p:nvSpPr>
            <p:cNvPr id="64" name="1. Caldic_C">
              <a:extLst>
                <a:ext uri="{FF2B5EF4-FFF2-40B4-BE49-F238E27FC236}">
                  <a16:creationId xmlns:a16="http://schemas.microsoft.com/office/drawing/2014/main" id="{2CF55876-0626-2077-440F-44DB54C2B666}"/>
                </a:ext>
              </a:extLst>
            </p:cNvPr>
            <p:cNvSpPr/>
            <p:nvPr userDrawn="1"/>
          </p:nvSpPr>
          <p:spPr>
            <a:xfrm>
              <a:off x="3156153" y="3039794"/>
              <a:ext cx="564973" cy="1079787"/>
            </a:xfrm>
            <a:custGeom>
              <a:avLst/>
              <a:gdLst>
                <a:gd name="connsiteX0" fmla="*/ 474421 w 716253"/>
                <a:gd name="connsiteY0" fmla="*/ 1019295 h 1368917"/>
                <a:gd name="connsiteX1" fmla="*/ 472529 w 716253"/>
                <a:gd name="connsiteY1" fmla="*/ 1077900 h 1368917"/>
                <a:gd name="connsiteX2" fmla="*/ 460561 w 716253"/>
                <a:gd name="connsiteY2" fmla="*/ 1129980 h 1368917"/>
                <a:gd name="connsiteX3" fmla="*/ 427360 w 716253"/>
                <a:gd name="connsiteY3" fmla="*/ 1167197 h 1368917"/>
                <a:gd name="connsiteX4" fmla="*/ 361728 w 716253"/>
                <a:gd name="connsiteY4" fmla="*/ 1181134 h 1368917"/>
                <a:gd name="connsiteX5" fmla="*/ 297101 w 716253"/>
                <a:gd name="connsiteY5" fmla="*/ 1169050 h 1368917"/>
                <a:gd name="connsiteX6" fmla="*/ 261119 w 716253"/>
                <a:gd name="connsiteY6" fmla="*/ 1136505 h 1368917"/>
                <a:gd name="connsiteX7" fmla="*/ 245445 w 716253"/>
                <a:gd name="connsiteY7" fmla="*/ 1089057 h 1368917"/>
                <a:gd name="connsiteX8" fmla="*/ 241584 w 716253"/>
                <a:gd name="connsiteY8" fmla="*/ 1032305 h 1368917"/>
                <a:gd name="connsiteX9" fmla="*/ 241584 w 716253"/>
                <a:gd name="connsiteY9" fmla="*/ 329200 h 1368917"/>
                <a:gd name="connsiteX10" fmla="*/ 244325 w 716253"/>
                <a:gd name="connsiteY10" fmla="*/ 281752 h 1368917"/>
                <a:gd name="connsiteX11" fmla="*/ 258185 w 716253"/>
                <a:gd name="connsiteY11" fmla="*/ 235424 h 1368917"/>
                <a:gd name="connsiteX12" fmla="*/ 291387 w 716253"/>
                <a:gd name="connsiteY12" fmla="*/ 200060 h 1368917"/>
                <a:gd name="connsiteX13" fmla="*/ 352308 w 716253"/>
                <a:gd name="connsiteY13" fmla="*/ 186123 h 1368917"/>
                <a:gd name="connsiteX14" fmla="*/ 415044 w 716253"/>
                <a:gd name="connsiteY14" fmla="*/ 196354 h 1368917"/>
                <a:gd name="connsiteX15" fmla="*/ 452300 w 716253"/>
                <a:gd name="connsiteY15" fmla="*/ 225927 h 1368917"/>
                <a:gd name="connsiteX16" fmla="*/ 469827 w 716253"/>
                <a:gd name="connsiteY16" fmla="*/ 274262 h 1368917"/>
                <a:gd name="connsiteX17" fmla="*/ 474460 w 716253"/>
                <a:gd name="connsiteY17" fmla="*/ 340318 h 1368917"/>
                <a:gd name="connsiteX18" fmla="*/ 474460 w 716253"/>
                <a:gd name="connsiteY18" fmla="*/ 490576 h 1368917"/>
                <a:gd name="connsiteX19" fmla="*/ 716254 w 716253"/>
                <a:gd name="connsiteY19" fmla="*/ 490576 h 1368917"/>
                <a:gd name="connsiteX20" fmla="*/ 716254 w 716253"/>
                <a:gd name="connsiteY20" fmla="*/ 304993 h 1368917"/>
                <a:gd name="connsiteX21" fmla="*/ 710694 w 716253"/>
                <a:gd name="connsiteY21" fmla="*/ 217587 h 1368917"/>
                <a:gd name="connsiteX22" fmla="*/ 671624 w 716253"/>
                <a:gd name="connsiteY22" fmla="*/ 117210 h 1368917"/>
                <a:gd name="connsiteX23" fmla="*/ 565572 w 716253"/>
                <a:gd name="connsiteY23" fmla="*/ 34437 h 1368917"/>
                <a:gd name="connsiteX24" fmla="*/ 359103 w 716253"/>
                <a:gd name="connsiteY24" fmla="*/ 0 h 1368917"/>
                <a:gd name="connsiteX25" fmla="*/ 305054 w 716253"/>
                <a:gd name="connsiteY25" fmla="*/ 1892 h 1368917"/>
                <a:gd name="connsiteX26" fmla="*/ 228805 w 716253"/>
                <a:gd name="connsiteY26" fmla="*/ 13976 h 1368917"/>
                <a:gd name="connsiteX27" fmla="*/ 144141 w 716253"/>
                <a:gd name="connsiteY27" fmla="*/ 44861 h 1368917"/>
                <a:gd name="connsiteX28" fmla="*/ 65113 w 716253"/>
                <a:gd name="connsiteY28" fmla="*/ 104393 h 1368917"/>
                <a:gd name="connsiteX29" fmla="*/ 10291 w 716253"/>
                <a:gd name="connsiteY29" fmla="*/ 210136 h 1368917"/>
                <a:gd name="connsiteX30" fmla="*/ 60 w 716253"/>
                <a:gd name="connsiteY30" fmla="*/ 347808 h 1368917"/>
                <a:gd name="connsiteX31" fmla="*/ 60 w 716253"/>
                <a:gd name="connsiteY31" fmla="*/ 1062032 h 1368917"/>
                <a:gd name="connsiteX32" fmla="*/ 1914 w 716253"/>
                <a:gd name="connsiteY32" fmla="*/ 1121564 h 1368917"/>
                <a:gd name="connsiteX33" fmla="*/ 13071 w 716253"/>
                <a:gd name="connsiteY33" fmla="*/ 1185767 h 1368917"/>
                <a:gd name="connsiteX34" fmla="*/ 43764 w 716253"/>
                <a:gd name="connsiteY34" fmla="*/ 1249005 h 1368917"/>
                <a:gd name="connsiteX35" fmla="*/ 104222 w 716253"/>
                <a:gd name="connsiteY35" fmla="*/ 1305718 h 1368917"/>
                <a:gd name="connsiteX36" fmla="*/ 234442 w 716253"/>
                <a:gd name="connsiteY36" fmla="*/ 1355907 h 1368917"/>
                <a:gd name="connsiteX37" fmla="*/ 359065 w 716253"/>
                <a:gd name="connsiteY37" fmla="*/ 1368917 h 1368917"/>
                <a:gd name="connsiteX38" fmla="*/ 565533 w 716253"/>
                <a:gd name="connsiteY38" fmla="*/ 1331739 h 1368917"/>
                <a:gd name="connsiteX39" fmla="*/ 671586 w 716253"/>
                <a:gd name="connsiteY39" fmla="*/ 1241515 h 1368917"/>
                <a:gd name="connsiteX40" fmla="*/ 710656 w 716253"/>
                <a:gd name="connsiteY40" fmla="*/ 1130829 h 1368917"/>
                <a:gd name="connsiteX41" fmla="*/ 716215 w 716253"/>
                <a:gd name="connsiteY41" fmla="*/ 1034120 h 1368917"/>
                <a:gd name="connsiteX42" fmla="*/ 716215 w 716253"/>
                <a:gd name="connsiteY42" fmla="*/ 848151 h 1368917"/>
                <a:gd name="connsiteX43" fmla="*/ 474421 w 716253"/>
                <a:gd name="connsiteY43" fmla="*/ 848151 h 136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6253" h="1368917">
                  <a:moveTo>
                    <a:pt x="474421" y="1019295"/>
                  </a:moveTo>
                  <a:cubicBezTo>
                    <a:pt x="474421" y="1039139"/>
                    <a:pt x="473791" y="1058674"/>
                    <a:pt x="472529" y="1077900"/>
                  </a:cubicBezTo>
                  <a:cubicBezTo>
                    <a:pt x="471623" y="1095827"/>
                    <a:pt x="467572" y="1113455"/>
                    <a:pt x="460561" y="1129980"/>
                  </a:cubicBezTo>
                  <a:cubicBezTo>
                    <a:pt x="453716" y="1145589"/>
                    <a:pt x="442090" y="1158621"/>
                    <a:pt x="427360" y="1167197"/>
                  </a:cubicBezTo>
                  <a:cubicBezTo>
                    <a:pt x="411917" y="1176514"/>
                    <a:pt x="390040" y="1181160"/>
                    <a:pt x="361728" y="1181134"/>
                  </a:cubicBezTo>
                  <a:cubicBezTo>
                    <a:pt x="334626" y="1181134"/>
                    <a:pt x="313084" y="1177106"/>
                    <a:pt x="297101" y="1169050"/>
                  </a:cubicBezTo>
                  <a:cubicBezTo>
                    <a:pt x="282181" y="1161955"/>
                    <a:pt x="269671" y="1150640"/>
                    <a:pt x="261119" y="1136505"/>
                  </a:cubicBezTo>
                  <a:cubicBezTo>
                    <a:pt x="252803" y="1121883"/>
                    <a:pt x="247475" y="1105755"/>
                    <a:pt x="245445" y="1089057"/>
                  </a:cubicBezTo>
                  <a:cubicBezTo>
                    <a:pt x="242866" y="1070250"/>
                    <a:pt x="241576" y="1051288"/>
                    <a:pt x="241584" y="1032305"/>
                  </a:cubicBezTo>
                  <a:lnTo>
                    <a:pt x="241584" y="329200"/>
                  </a:lnTo>
                  <a:cubicBezTo>
                    <a:pt x="241626" y="313345"/>
                    <a:pt x="242541" y="297505"/>
                    <a:pt x="244325" y="281752"/>
                  </a:cubicBezTo>
                  <a:cubicBezTo>
                    <a:pt x="246027" y="265582"/>
                    <a:pt x="250727" y="249871"/>
                    <a:pt x="258185" y="235424"/>
                  </a:cubicBezTo>
                  <a:cubicBezTo>
                    <a:pt x="265855" y="220853"/>
                    <a:pt x="277329" y="208633"/>
                    <a:pt x="291387" y="200060"/>
                  </a:cubicBezTo>
                  <a:cubicBezTo>
                    <a:pt x="306186" y="190743"/>
                    <a:pt x="326493" y="186097"/>
                    <a:pt x="352308" y="186123"/>
                  </a:cubicBezTo>
                  <a:cubicBezTo>
                    <a:pt x="378123" y="186149"/>
                    <a:pt x="399035" y="189559"/>
                    <a:pt x="415044" y="196354"/>
                  </a:cubicBezTo>
                  <a:cubicBezTo>
                    <a:pt x="430140" y="202265"/>
                    <a:pt x="443117" y="212566"/>
                    <a:pt x="452300" y="225927"/>
                  </a:cubicBezTo>
                  <a:cubicBezTo>
                    <a:pt x="461516" y="240607"/>
                    <a:pt x="467492" y="257086"/>
                    <a:pt x="469827" y="274262"/>
                  </a:cubicBezTo>
                  <a:cubicBezTo>
                    <a:pt x="473104" y="296125"/>
                    <a:pt x="474653" y="318212"/>
                    <a:pt x="474460" y="340318"/>
                  </a:cubicBezTo>
                  <a:lnTo>
                    <a:pt x="474460" y="490576"/>
                  </a:lnTo>
                  <a:lnTo>
                    <a:pt x="716254" y="490576"/>
                  </a:lnTo>
                  <a:lnTo>
                    <a:pt x="716254" y="304993"/>
                  </a:lnTo>
                  <a:cubicBezTo>
                    <a:pt x="715906" y="275782"/>
                    <a:pt x="714050" y="246608"/>
                    <a:pt x="710694" y="217587"/>
                  </a:cubicBezTo>
                  <a:cubicBezTo>
                    <a:pt x="706348" y="181368"/>
                    <a:pt x="692908" y="146837"/>
                    <a:pt x="671624" y="117210"/>
                  </a:cubicBezTo>
                  <a:cubicBezTo>
                    <a:pt x="649310" y="84986"/>
                    <a:pt x="613959" y="57395"/>
                    <a:pt x="565572" y="34437"/>
                  </a:cubicBezTo>
                  <a:cubicBezTo>
                    <a:pt x="517185" y="11479"/>
                    <a:pt x="448362" y="0"/>
                    <a:pt x="359103" y="0"/>
                  </a:cubicBezTo>
                  <a:cubicBezTo>
                    <a:pt x="346697" y="0"/>
                    <a:pt x="328681" y="631"/>
                    <a:pt x="305054" y="1892"/>
                  </a:cubicBezTo>
                  <a:cubicBezTo>
                    <a:pt x="279310" y="3478"/>
                    <a:pt x="253778" y="7524"/>
                    <a:pt x="228805" y="13976"/>
                  </a:cubicBezTo>
                  <a:cubicBezTo>
                    <a:pt x="199660" y="21536"/>
                    <a:pt x="171308" y="31879"/>
                    <a:pt x="144141" y="44861"/>
                  </a:cubicBezTo>
                  <a:cubicBezTo>
                    <a:pt x="114065" y="59193"/>
                    <a:pt x="87187" y="79440"/>
                    <a:pt x="65113" y="104393"/>
                  </a:cubicBezTo>
                  <a:cubicBezTo>
                    <a:pt x="35411" y="136513"/>
                    <a:pt x="17138" y="171761"/>
                    <a:pt x="10291" y="210136"/>
                  </a:cubicBezTo>
                  <a:cubicBezTo>
                    <a:pt x="2916" y="255646"/>
                    <a:pt x="-507" y="301708"/>
                    <a:pt x="60" y="347808"/>
                  </a:cubicBezTo>
                  <a:lnTo>
                    <a:pt x="60" y="1062032"/>
                  </a:lnTo>
                  <a:cubicBezTo>
                    <a:pt x="60" y="1080641"/>
                    <a:pt x="678" y="1100485"/>
                    <a:pt x="1914" y="1121564"/>
                  </a:cubicBezTo>
                  <a:cubicBezTo>
                    <a:pt x="3253" y="1143311"/>
                    <a:pt x="6995" y="1164843"/>
                    <a:pt x="13071" y="1185767"/>
                  </a:cubicBezTo>
                  <a:cubicBezTo>
                    <a:pt x="19737" y="1208397"/>
                    <a:pt x="30108" y="1229766"/>
                    <a:pt x="43764" y="1249005"/>
                  </a:cubicBezTo>
                  <a:cubicBezTo>
                    <a:pt x="60191" y="1271525"/>
                    <a:pt x="80699" y="1290762"/>
                    <a:pt x="104222" y="1305718"/>
                  </a:cubicBezTo>
                  <a:cubicBezTo>
                    <a:pt x="143843" y="1330971"/>
                    <a:pt x="188120" y="1348036"/>
                    <a:pt x="234442" y="1355907"/>
                  </a:cubicBezTo>
                  <a:cubicBezTo>
                    <a:pt x="275529" y="1363834"/>
                    <a:pt x="317226" y="1368187"/>
                    <a:pt x="359065" y="1368917"/>
                  </a:cubicBezTo>
                  <a:cubicBezTo>
                    <a:pt x="448375" y="1368917"/>
                    <a:pt x="517197" y="1356524"/>
                    <a:pt x="565533" y="1331739"/>
                  </a:cubicBezTo>
                  <a:cubicBezTo>
                    <a:pt x="613869" y="1306953"/>
                    <a:pt x="649220" y="1276879"/>
                    <a:pt x="671586" y="1241515"/>
                  </a:cubicBezTo>
                  <a:cubicBezTo>
                    <a:pt x="693176" y="1208227"/>
                    <a:pt x="706566" y="1170294"/>
                    <a:pt x="710656" y="1130829"/>
                  </a:cubicBezTo>
                  <a:cubicBezTo>
                    <a:pt x="714362" y="1092403"/>
                    <a:pt x="716215" y="1060166"/>
                    <a:pt x="716215" y="1034120"/>
                  </a:cubicBezTo>
                  <a:lnTo>
                    <a:pt x="716215" y="848151"/>
                  </a:lnTo>
                  <a:lnTo>
                    <a:pt x="474421" y="848151"/>
                  </a:lnTo>
                  <a:close/>
                </a:path>
              </a:pathLst>
            </a:custGeom>
            <a:grpFill/>
            <a:ln w="3861" cap="flat">
              <a:noFill/>
              <a:prstDash val="solid"/>
              <a:miter/>
            </a:ln>
          </p:spPr>
          <p:txBody>
            <a:bodyPr rtlCol="0" anchor="ctr"/>
            <a:lstStyle/>
            <a:p>
              <a:endParaRPr lang="en-US"/>
            </a:p>
          </p:txBody>
        </p:sp>
        <p:grpSp>
          <p:nvGrpSpPr>
            <p:cNvPr id="65" name="Tagline">
              <a:extLst>
                <a:ext uri="{FF2B5EF4-FFF2-40B4-BE49-F238E27FC236}">
                  <a16:creationId xmlns:a16="http://schemas.microsoft.com/office/drawing/2014/main" id="{B9E0D421-A83C-D544-2A75-E9CD7B4754C4}"/>
                </a:ext>
              </a:extLst>
            </p:cNvPr>
            <p:cNvGrpSpPr/>
            <p:nvPr userDrawn="1"/>
          </p:nvGrpSpPr>
          <p:grpSpPr>
            <a:xfrm>
              <a:off x="7037282" y="3789045"/>
              <a:ext cx="3758524" cy="311379"/>
              <a:chOff x="7093317" y="7149858"/>
              <a:chExt cx="4764927" cy="394755"/>
            </a:xfrm>
            <a:grpFill/>
          </p:grpSpPr>
          <p:sp>
            <p:nvSpPr>
              <p:cNvPr id="66" name="Freeform: Shape 65">
                <a:extLst>
                  <a:ext uri="{FF2B5EF4-FFF2-40B4-BE49-F238E27FC236}">
                    <a16:creationId xmlns:a16="http://schemas.microsoft.com/office/drawing/2014/main" id="{73EB7A82-5C9B-7A16-2649-30427BC9C5E6}"/>
                  </a:ext>
                </a:extLst>
              </p:cNvPr>
              <p:cNvSpPr/>
              <p:nvPr/>
            </p:nvSpPr>
            <p:spPr>
              <a:xfrm>
                <a:off x="7093317" y="7149858"/>
                <a:ext cx="278943" cy="391019"/>
              </a:xfrm>
              <a:custGeom>
                <a:avLst/>
                <a:gdLst>
                  <a:gd name="connsiteX0" fmla="*/ 189144 w 278943"/>
                  <a:gd name="connsiteY0" fmla="*/ 390936 h 391019"/>
                  <a:gd name="connsiteX1" fmla="*/ 13407 w 278943"/>
                  <a:gd name="connsiteY1" fmla="*/ 390936 h 391019"/>
                  <a:gd name="connsiteX2" fmla="*/ 83 w 278943"/>
                  <a:gd name="connsiteY2" fmla="*/ 380410 h 391019"/>
                  <a:gd name="connsiteX3" fmla="*/ 87 w 278943"/>
                  <a:gd name="connsiteY3" fmla="*/ 377578 h 391019"/>
                  <a:gd name="connsiteX4" fmla="*/ 87 w 278943"/>
                  <a:gd name="connsiteY4" fmla="*/ 13440 h 391019"/>
                  <a:gd name="connsiteX5" fmla="*/ 10575 w 278943"/>
                  <a:gd name="connsiteY5" fmla="*/ 86 h 391019"/>
                  <a:gd name="connsiteX6" fmla="*/ 13406 w 278943"/>
                  <a:gd name="connsiteY6" fmla="*/ 82 h 391019"/>
                  <a:gd name="connsiteX7" fmla="*/ 175555 w 278943"/>
                  <a:gd name="connsiteY7" fmla="*/ 82 h 391019"/>
                  <a:gd name="connsiteX8" fmla="*/ 226593 w 278943"/>
                  <a:gd name="connsiteY8" fmla="*/ 18652 h 391019"/>
                  <a:gd name="connsiteX9" fmla="*/ 245356 w 278943"/>
                  <a:gd name="connsiteY9" fmla="*/ 37414 h 391019"/>
                  <a:gd name="connsiteX10" fmla="*/ 265161 w 278943"/>
                  <a:gd name="connsiteY10" fmla="*/ 89109 h 391019"/>
                  <a:gd name="connsiteX11" fmla="*/ 265161 w 278943"/>
                  <a:gd name="connsiteY11" fmla="*/ 124125 h 391019"/>
                  <a:gd name="connsiteX12" fmla="*/ 245356 w 278943"/>
                  <a:gd name="connsiteY12" fmla="*/ 176437 h 391019"/>
                  <a:gd name="connsiteX13" fmla="*/ 233272 w 278943"/>
                  <a:gd name="connsiteY13" fmla="*/ 188560 h 391019"/>
                  <a:gd name="connsiteX14" fmla="*/ 259138 w 278943"/>
                  <a:gd name="connsiteY14" fmla="*/ 214426 h 391019"/>
                  <a:gd name="connsiteX15" fmla="*/ 278943 w 278943"/>
                  <a:gd name="connsiteY15" fmla="*/ 266738 h 391019"/>
                  <a:gd name="connsiteX16" fmla="*/ 278943 w 278943"/>
                  <a:gd name="connsiteY16" fmla="*/ 301755 h 391019"/>
                  <a:gd name="connsiteX17" fmla="*/ 259138 w 278943"/>
                  <a:gd name="connsiteY17" fmla="*/ 353449 h 391019"/>
                  <a:gd name="connsiteX18" fmla="*/ 240375 w 278943"/>
                  <a:gd name="connsiteY18" fmla="*/ 372212 h 391019"/>
                  <a:gd name="connsiteX19" fmla="*/ 189144 w 278943"/>
                  <a:gd name="connsiteY19" fmla="*/ 390936 h 391019"/>
                  <a:gd name="connsiteX20" fmla="*/ 48616 w 278943"/>
                  <a:gd name="connsiteY20" fmla="*/ 349859 h 391019"/>
                  <a:gd name="connsiteX21" fmla="*/ 181037 w 278943"/>
                  <a:gd name="connsiteY21" fmla="*/ 349859 h 391019"/>
                  <a:gd name="connsiteX22" fmla="*/ 201267 w 278943"/>
                  <a:gd name="connsiteY22" fmla="*/ 341558 h 391019"/>
                  <a:gd name="connsiteX23" fmla="*/ 220570 w 278943"/>
                  <a:gd name="connsiteY23" fmla="*/ 322255 h 391019"/>
                  <a:gd name="connsiteX24" fmla="*/ 230144 w 278943"/>
                  <a:gd name="connsiteY24" fmla="*/ 302025 h 391019"/>
                  <a:gd name="connsiteX25" fmla="*/ 230144 w 278943"/>
                  <a:gd name="connsiteY25" fmla="*/ 261256 h 391019"/>
                  <a:gd name="connsiteX26" fmla="*/ 220570 w 278943"/>
                  <a:gd name="connsiteY26" fmla="*/ 240409 h 391019"/>
                  <a:gd name="connsiteX27" fmla="*/ 201807 w 278943"/>
                  <a:gd name="connsiteY27" fmla="*/ 221646 h 391019"/>
                  <a:gd name="connsiteX28" fmla="*/ 179685 w 278943"/>
                  <a:gd name="connsiteY28" fmla="*/ 213307 h 391019"/>
                  <a:gd name="connsiteX29" fmla="*/ 48423 w 278943"/>
                  <a:gd name="connsiteY29" fmla="*/ 213307 h 391019"/>
                  <a:gd name="connsiteX30" fmla="*/ 48616 w 278943"/>
                  <a:gd name="connsiteY30" fmla="*/ 174121 h 391019"/>
                  <a:gd name="connsiteX31" fmla="*/ 174126 w 278943"/>
                  <a:gd name="connsiteY31" fmla="*/ 174121 h 391019"/>
                  <a:gd name="connsiteX32" fmla="*/ 194395 w 278943"/>
                  <a:gd name="connsiteY32" fmla="*/ 166399 h 391019"/>
                  <a:gd name="connsiteX33" fmla="*/ 208139 w 278943"/>
                  <a:gd name="connsiteY33" fmla="*/ 152656 h 391019"/>
                  <a:gd name="connsiteX34" fmla="*/ 217713 w 278943"/>
                  <a:gd name="connsiteY34" fmla="*/ 131808 h 391019"/>
                  <a:gd name="connsiteX35" fmla="*/ 217713 w 278943"/>
                  <a:gd name="connsiteY35" fmla="*/ 89341 h 391019"/>
                  <a:gd name="connsiteX36" fmla="*/ 208139 w 278943"/>
                  <a:gd name="connsiteY36" fmla="*/ 69111 h 391019"/>
                  <a:gd name="connsiteX37" fmla="*/ 188835 w 278943"/>
                  <a:gd name="connsiteY37" fmla="*/ 49807 h 391019"/>
                  <a:gd name="connsiteX38" fmla="*/ 168605 w 278943"/>
                  <a:gd name="connsiteY38" fmla="*/ 41468 h 391019"/>
                  <a:gd name="connsiteX39" fmla="*/ 48693 w 278943"/>
                  <a:gd name="connsiteY39" fmla="*/ 41468 h 39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8943" h="391019">
                    <a:moveTo>
                      <a:pt x="189144" y="390936"/>
                    </a:moveTo>
                    <a:lnTo>
                      <a:pt x="13407" y="390936"/>
                    </a:lnTo>
                    <a:cubicBezTo>
                      <a:pt x="6821" y="391708"/>
                      <a:pt x="856" y="386996"/>
                      <a:pt x="83" y="380410"/>
                    </a:cubicBezTo>
                    <a:cubicBezTo>
                      <a:pt x="-27" y="379469"/>
                      <a:pt x="-26" y="378519"/>
                      <a:pt x="87" y="377578"/>
                    </a:cubicBezTo>
                    <a:lnTo>
                      <a:pt x="87" y="13440"/>
                    </a:lnTo>
                    <a:cubicBezTo>
                      <a:pt x="-704" y="6856"/>
                      <a:pt x="3991" y="877"/>
                      <a:pt x="10575" y="86"/>
                    </a:cubicBezTo>
                    <a:cubicBezTo>
                      <a:pt x="11515" y="-27"/>
                      <a:pt x="12465" y="-29"/>
                      <a:pt x="13406" y="82"/>
                    </a:cubicBezTo>
                    <a:lnTo>
                      <a:pt x="175555" y="82"/>
                    </a:lnTo>
                    <a:cubicBezTo>
                      <a:pt x="199838" y="82"/>
                      <a:pt x="212733" y="4792"/>
                      <a:pt x="226593" y="18652"/>
                    </a:cubicBezTo>
                    <a:lnTo>
                      <a:pt x="245356" y="37414"/>
                    </a:lnTo>
                    <a:cubicBezTo>
                      <a:pt x="262767" y="54826"/>
                      <a:pt x="265161" y="61119"/>
                      <a:pt x="265161" y="89109"/>
                    </a:cubicBezTo>
                    <a:lnTo>
                      <a:pt x="265161" y="124125"/>
                    </a:lnTo>
                    <a:cubicBezTo>
                      <a:pt x="265161" y="152385"/>
                      <a:pt x="262574" y="159219"/>
                      <a:pt x="245356" y="176437"/>
                    </a:cubicBezTo>
                    <a:lnTo>
                      <a:pt x="233272" y="188560"/>
                    </a:lnTo>
                    <a:lnTo>
                      <a:pt x="259138" y="214426"/>
                    </a:lnTo>
                    <a:cubicBezTo>
                      <a:pt x="276357" y="231645"/>
                      <a:pt x="278943" y="238478"/>
                      <a:pt x="278943" y="266738"/>
                    </a:cubicBezTo>
                    <a:lnTo>
                      <a:pt x="278943" y="301755"/>
                    </a:lnTo>
                    <a:cubicBezTo>
                      <a:pt x="278943" y="329745"/>
                      <a:pt x="276550" y="336037"/>
                      <a:pt x="259138" y="353449"/>
                    </a:cubicBezTo>
                    <a:lnTo>
                      <a:pt x="240375" y="372212"/>
                    </a:lnTo>
                    <a:cubicBezTo>
                      <a:pt x="226515" y="386226"/>
                      <a:pt x="213466" y="390936"/>
                      <a:pt x="189144" y="390936"/>
                    </a:cubicBezTo>
                    <a:close/>
                    <a:moveTo>
                      <a:pt x="48616" y="349859"/>
                    </a:moveTo>
                    <a:lnTo>
                      <a:pt x="181037" y="349859"/>
                    </a:lnTo>
                    <a:cubicBezTo>
                      <a:pt x="190457" y="349859"/>
                      <a:pt x="193275" y="349550"/>
                      <a:pt x="201267" y="341558"/>
                    </a:cubicBezTo>
                    <a:lnTo>
                      <a:pt x="220570" y="322255"/>
                    </a:lnTo>
                    <a:cubicBezTo>
                      <a:pt x="228291" y="314727"/>
                      <a:pt x="230144" y="311368"/>
                      <a:pt x="230144" y="302025"/>
                    </a:cubicBezTo>
                    <a:lnTo>
                      <a:pt x="230144" y="261256"/>
                    </a:lnTo>
                    <a:cubicBezTo>
                      <a:pt x="230144" y="251605"/>
                      <a:pt x="227751" y="247589"/>
                      <a:pt x="220570" y="240409"/>
                    </a:cubicBezTo>
                    <a:lnTo>
                      <a:pt x="201807" y="221646"/>
                    </a:lnTo>
                    <a:cubicBezTo>
                      <a:pt x="193816" y="213654"/>
                      <a:pt x="190225" y="213307"/>
                      <a:pt x="179685" y="213307"/>
                    </a:cubicBezTo>
                    <a:lnTo>
                      <a:pt x="48423" y="213307"/>
                    </a:lnTo>
                    <a:close/>
                    <a:moveTo>
                      <a:pt x="48616" y="174121"/>
                    </a:moveTo>
                    <a:lnTo>
                      <a:pt x="174126" y="174121"/>
                    </a:lnTo>
                    <a:cubicBezTo>
                      <a:pt x="184009" y="174121"/>
                      <a:pt x="186674" y="174121"/>
                      <a:pt x="194395" y="166399"/>
                    </a:cubicBezTo>
                    <a:lnTo>
                      <a:pt x="208139" y="152656"/>
                    </a:lnTo>
                    <a:cubicBezTo>
                      <a:pt x="215319" y="145475"/>
                      <a:pt x="217713" y="141460"/>
                      <a:pt x="217713" y="131808"/>
                    </a:cubicBezTo>
                    <a:lnTo>
                      <a:pt x="217713" y="89341"/>
                    </a:lnTo>
                    <a:cubicBezTo>
                      <a:pt x="217713" y="79998"/>
                      <a:pt x="215667" y="76639"/>
                      <a:pt x="208139" y="69111"/>
                    </a:cubicBezTo>
                    <a:lnTo>
                      <a:pt x="188835" y="49807"/>
                    </a:lnTo>
                    <a:cubicBezTo>
                      <a:pt x="180844" y="41777"/>
                      <a:pt x="178025" y="41468"/>
                      <a:pt x="168605" y="41468"/>
                    </a:cubicBezTo>
                    <a:lnTo>
                      <a:pt x="48693" y="41468"/>
                    </a:lnTo>
                    <a:close/>
                  </a:path>
                </a:pathLst>
              </a:custGeom>
              <a:grpFill/>
              <a:ln w="3861"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2769F688-1683-12C0-C4D6-0192DB202978}"/>
                  </a:ext>
                </a:extLst>
              </p:cNvPr>
              <p:cNvSpPr/>
              <p:nvPr/>
            </p:nvSpPr>
            <p:spPr>
              <a:xfrm>
                <a:off x="7441057" y="7230782"/>
                <a:ext cx="264301" cy="313756"/>
              </a:xfrm>
              <a:custGeom>
                <a:avLst/>
                <a:gdLst>
                  <a:gd name="connsiteX0" fmla="*/ 177900 w 264301"/>
                  <a:gd name="connsiteY0" fmla="*/ 313757 h 313756"/>
                  <a:gd name="connsiteX1" fmla="*/ 85243 w 264301"/>
                  <a:gd name="connsiteY1" fmla="*/ 313757 h 313756"/>
                  <a:gd name="connsiteX2" fmla="*/ 36059 w 264301"/>
                  <a:gd name="connsiteY2" fmla="*/ 295187 h 313756"/>
                  <a:gd name="connsiteX3" fmla="*/ 19805 w 264301"/>
                  <a:gd name="connsiteY3" fmla="*/ 278934 h 313756"/>
                  <a:gd name="connsiteX4" fmla="*/ 0 w 264301"/>
                  <a:gd name="connsiteY4" fmla="*/ 226621 h 313756"/>
                  <a:gd name="connsiteX5" fmla="*/ 0 w 264301"/>
                  <a:gd name="connsiteY5" fmla="*/ 87135 h 313756"/>
                  <a:gd name="connsiteX6" fmla="*/ 19805 w 264301"/>
                  <a:gd name="connsiteY6" fmla="*/ 34823 h 313756"/>
                  <a:gd name="connsiteX7" fmla="*/ 36059 w 264301"/>
                  <a:gd name="connsiteY7" fmla="*/ 18570 h 313756"/>
                  <a:gd name="connsiteX8" fmla="*/ 85243 w 264301"/>
                  <a:gd name="connsiteY8" fmla="*/ 0 h 313756"/>
                  <a:gd name="connsiteX9" fmla="*/ 179058 w 264301"/>
                  <a:gd name="connsiteY9" fmla="*/ 0 h 313756"/>
                  <a:gd name="connsiteX10" fmla="*/ 228243 w 264301"/>
                  <a:gd name="connsiteY10" fmla="*/ 18570 h 313756"/>
                  <a:gd name="connsiteX11" fmla="*/ 244496 w 264301"/>
                  <a:gd name="connsiteY11" fmla="*/ 34823 h 313756"/>
                  <a:gd name="connsiteX12" fmla="*/ 264301 w 264301"/>
                  <a:gd name="connsiteY12" fmla="*/ 87135 h 313756"/>
                  <a:gd name="connsiteX13" fmla="*/ 264301 w 264301"/>
                  <a:gd name="connsiteY13" fmla="*/ 155315 h 313756"/>
                  <a:gd name="connsiteX14" fmla="*/ 243492 w 264301"/>
                  <a:gd name="connsiteY14" fmla="*/ 177398 h 313756"/>
                  <a:gd name="connsiteX15" fmla="*/ 46058 w 264301"/>
                  <a:gd name="connsiteY15" fmla="*/ 177398 h 313756"/>
                  <a:gd name="connsiteX16" fmla="*/ 46058 w 264301"/>
                  <a:gd name="connsiteY16" fmla="*/ 229131 h 313756"/>
                  <a:gd name="connsiteX17" fmla="*/ 55015 w 264301"/>
                  <a:gd name="connsiteY17" fmla="*/ 249361 h 313756"/>
                  <a:gd name="connsiteX18" fmla="*/ 69376 w 264301"/>
                  <a:gd name="connsiteY18" fmla="*/ 263761 h 313756"/>
                  <a:gd name="connsiteX19" fmla="*/ 91498 w 264301"/>
                  <a:gd name="connsiteY19" fmla="*/ 272062 h 313756"/>
                  <a:gd name="connsiteX20" fmla="*/ 175313 w 264301"/>
                  <a:gd name="connsiteY20" fmla="*/ 272062 h 313756"/>
                  <a:gd name="connsiteX21" fmla="*/ 201643 w 264301"/>
                  <a:gd name="connsiteY21" fmla="*/ 267197 h 313756"/>
                  <a:gd name="connsiteX22" fmla="*/ 241562 w 264301"/>
                  <a:gd name="connsiteY22" fmla="*/ 247894 h 313756"/>
                  <a:gd name="connsiteX23" fmla="*/ 260479 w 264301"/>
                  <a:gd name="connsiteY23" fmla="*/ 280323 h 313756"/>
                  <a:gd name="connsiteX24" fmla="*/ 224228 w 264301"/>
                  <a:gd name="connsiteY24" fmla="*/ 302329 h 313756"/>
                  <a:gd name="connsiteX25" fmla="*/ 177900 w 264301"/>
                  <a:gd name="connsiteY25" fmla="*/ 313757 h 313756"/>
                  <a:gd name="connsiteX26" fmla="*/ 46135 w 264301"/>
                  <a:gd name="connsiteY26" fmla="*/ 137131 h 313756"/>
                  <a:gd name="connsiteX27" fmla="*/ 218977 w 264301"/>
                  <a:gd name="connsiteY27" fmla="*/ 137131 h 313756"/>
                  <a:gd name="connsiteX28" fmla="*/ 218977 w 264301"/>
                  <a:gd name="connsiteY28" fmla="*/ 84008 h 313756"/>
                  <a:gd name="connsiteX29" fmla="*/ 209403 w 264301"/>
                  <a:gd name="connsiteY29" fmla="*/ 63778 h 313756"/>
                  <a:gd name="connsiteX30" fmla="*/ 195003 w 264301"/>
                  <a:gd name="connsiteY30" fmla="*/ 49378 h 313756"/>
                  <a:gd name="connsiteX31" fmla="*/ 172881 w 264301"/>
                  <a:gd name="connsiteY31" fmla="*/ 41077 h 313756"/>
                  <a:gd name="connsiteX32" fmla="*/ 91575 w 264301"/>
                  <a:gd name="connsiteY32" fmla="*/ 41077 h 313756"/>
                  <a:gd name="connsiteX33" fmla="*/ 69415 w 264301"/>
                  <a:gd name="connsiteY33" fmla="*/ 49417 h 313756"/>
                  <a:gd name="connsiteX34" fmla="*/ 55092 w 264301"/>
                  <a:gd name="connsiteY34" fmla="*/ 63778 h 313756"/>
                  <a:gd name="connsiteX35" fmla="*/ 46135 w 264301"/>
                  <a:gd name="connsiteY35" fmla="*/ 84008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4301" h="313756">
                    <a:moveTo>
                      <a:pt x="177900" y="313757"/>
                    </a:moveTo>
                    <a:lnTo>
                      <a:pt x="85243" y="313757"/>
                    </a:lnTo>
                    <a:cubicBezTo>
                      <a:pt x="61500" y="313757"/>
                      <a:pt x="50497" y="309587"/>
                      <a:pt x="36059" y="295187"/>
                    </a:cubicBezTo>
                    <a:lnTo>
                      <a:pt x="19805" y="278934"/>
                    </a:lnTo>
                    <a:cubicBezTo>
                      <a:pt x="2586" y="261715"/>
                      <a:pt x="0" y="254882"/>
                      <a:pt x="0" y="226621"/>
                    </a:cubicBezTo>
                    <a:lnTo>
                      <a:pt x="0" y="87135"/>
                    </a:lnTo>
                    <a:cubicBezTo>
                      <a:pt x="0" y="58914"/>
                      <a:pt x="2586" y="52042"/>
                      <a:pt x="19805" y="34823"/>
                    </a:cubicBezTo>
                    <a:lnTo>
                      <a:pt x="36059" y="18570"/>
                    </a:lnTo>
                    <a:cubicBezTo>
                      <a:pt x="50459" y="4169"/>
                      <a:pt x="61500" y="0"/>
                      <a:pt x="85243" y="0"/>
                    </a:cubicBezTo>
                    <a:lnTo>
                      <a:pt x="179058" y="0"/>
                    </a:lnTo>
                    <a:cubicBezTo>
                      <a:pt x="202801" y="0"/>
                      <a:pt x="213804" y="4169"/>
                      <a:pt x="228243" y="18570"/>
                    </a:cubicBezTo>
                    <a:lnTo>
                      <a:pt x="244496" y="34823"/>
                    </a:lnTo>
                    <a:cubicBezTo>
                      <a:pt x="261715" y="52042"/>
                      <a:pt x="264301" y="58914"/>
                      <a:pt x="264301" y="87135"/>
                    </a:cubicBezTo>
                    <a:lnTo>
                      <a:pt x="264301" y="155315"/>
                    </a:lnTo>
                    <a:cubicBezTo>
                      <a:pt x="264301" y="169561"/>
                      <a:pt x="256927" y="177398"/>
                      <a:pt x="243492" y="177398"/>
                    </a:cubicBezTo>
                    <a:lnTo>
                      <a:pt x="46058" y="177398"/>
                    </a:lnTo>
                    <a:lnTo>
                      <a:pt x="46058" y="229131"/>
                    </a:lnTo>
                    <a:cubicBezTo>
                      <a:pt x="46058" y="238512"/>
                      <a:pt x="47563" y="241910"/>
                      <a:pt x="55015" y="249361"/>
                    </a:cubicBezTo>
                    <a:lnTo>
                      <a:pt x="69376" y="263761"/>
                    </a:lnTo>
                    <a:cubicBezTo>
                      <a:pt x="77097" y="271482"/>
                      <a:pt x="79260" y="272062"/>
                      <a:pt x="91498" y="272062"/>
                    </a:cubicBezTo>
                    <a:lnTo>
                      <a:pt x="175313" y="272062"/>
                    </a:lnTo>
                    <a:cubicBezTo>
                      <a:pt x="184345" y="272456"/>
                      <a:pt x="193348" y="270793"/>
                      <a:pt x="201643" y="267197"/>
                    </a:cubicBezTo>
                    <a:lnTo>
                      <a:pt x="241562" y="247894"/>
                    </a:lnTo>
                    <a:lnTo>
                      <a:pt x="260479" y="280323"/>
                    </a:lnTo>
                    <a:lnTo>
                      <a:pt x="224228" y="302329"/>
                    </a:lnTo>
                    <a:cubicBezTo>
                      <a:pt x="209403" y="311595"/>
                      <a:pt x="200716" y="313757"/>
                      <a:pt x="177900" y="313757"/>
                    </a:cubicBezTo>
                    <a:close/>
                    <a:moveTo>
                      <a:pt x="46135" y="137131"/>
                    </a:moveTo>
                    <a:lnTo>
                      <a:pt x="218977" y="137131"/>
                    </a:lnTo>
                    <a:lnTo>
                      <a:pt x="218977" y="84008"/>
                    </a:lnTo>
                    <a:cubicBezTo>
                      <a:pt x="218977" y="74704"/>
                      <a:pt x="216931" y="71307"/>
                      <a:pt x="209403" y="63778"/>
                    </a:cubicBezTo>
                    <a:lnTo>
                      <a:pt x="195003" y="49378"/>
                    </a:lnTo>
                    <a:cubicBezTo>
                      <a:pt x="187281" y="42236"/>
                      <a:pt x="185080" y="41077"/>
                      <a:pt x="172881" y="41077"/>
                    </a:cubicBezTo>
                    <a:lnTo>
                      <a:pt x="91575" y="41077"/>
                    </a:lnTo>
                    <a:cubicBezTo>
                      <a:pt x="79375" y="41077"/>
                      <a:pt x="77252" y="42236"/>
                      <a:pt x="69415" y="49417"/>
                    </a:cubicBezTo>
                    <a:lnTo>
                      <a:pt x="55092" y="63778"/>
                    </a:lnTo>
                    <a:cubicBezTo>
                      <a:pt x="47641" y="71229"/>
                      <a:pt x="46135" y="74627"/>
                      <a:pt x="46135" y="84008"/>
                    </a:cubicBezTo>
                    <a:close/>
                  </a:path>
                </a:pathLst>
              </a:custGeom>
              <a:grpFill/>
              <a:ln w="3861"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C0CCCC88-F8A9-D41E-E2CB-1977F6A81287}"/>
                  </a:ext>
                </a:extLst>
              </p:cNvPr>
              <p:cNvSpPr/>
              <p:nvPr/>
            </p:nvSpPr>
            <p:spPr>
              <a:xfrm>
                <a:off x="7777592" y="7230782"/>
                <a:ext cx="251021" cy="313756"/>
              </a:xfrm>
              <a:custGeom>
                <a:avLst/>
                <a:gdLst>
                  <a:gd name="connsiteX0" fmla="*/ 168441 w 251021"/>
                  <a:gd name="connsiteY0" fmla="*/ 313757 h 313756"/>
                  <a:gd name="connsiteX1" fmla="*/ 85244 w 251021"/>
                  <a:gd name="connsiteY1" fmla="*/ 313757 h 313756"/>
                  <a:gd name="connsiteX2" fmla="*/ 36098 w 251021"/>
                  <a:gd name="connsiteY2" fmla="*/ 295187 h 313756"/>
                  <a:gd name="connsiteX3" fmla="*/ 19805 w 251021"/>
                  <a:gd name="connsiteY3" fmla="*/ 278934 h 313756"/>
                  <a:gd name="connsiteX4" fmla="*/ 0 w 251021"/>
                  <a:gd name="connsiteY4" fmla="*/ 226621 h 313756"/>
                  <a:gd name="connsiteX5" fmla="*/ 0 w 251021"/>
                  <a:gd name="connsiteY5" fmla="*/ 87135 h 313756"/>
                  <a:gd name="connsiteX6" fmla="*/ 19805 w 251021"/>
                  <a:gd name="connsiteY6" fmla="*/ 34823 h 313756"/>
                  <a:gd name="connsiteX7" fmla="*/ 36098 w 251021"/>
                  <a:gd name="connsiteY7" fmla="*/ 18570 h 313756"/>
                  <a:gd name="connsiteX8" fmla="*/ 85244 w 251021"/>
                  <a:gd name="connsiteY8" fmla="*/ 0 h 313756"/>
                  <a:gd name="connsiteX9" fmla="*/ 164079 w 251021"/>
                  <a:gd name="connsiteY9" fmla="*/ 0 h 313756"/>
                  <a:gd name="connsiteX10" fmla="*/ 210407 w 251021"/>
                  <a:gd name="connsiteY10" fmla="*/ 11582 h 313756"/>
                  <a:gd name="connsiteX11" fmla="*/ 246658 w 251021"/>
                  <a:gd name="connsiteY11" fmla="*/ 32275 h 313756"/>
                  <a:gd name="connsiteX12" fmla="*/ 228475 w 251021"/>
                  <a:gd name="connsiteY12" fmla="*/ 66635 h 313756"/>
                  <a:gd name="connsiteX13" fmla="*/ 187822 w 251021"/>
                  <a:gd name="connsiteY13" fmla="*/ 47911 h 313756"/>
                  <a:gd name="connsiteX14" fmla="*/ 161530 w 251021"/>
                  <a:gd name="connsiteY14" fmla="*/ 43046 h 313756"/>
                  <a:gd name="connsiteX15" fmla="*/ 91460 w 251021"/>
                  <a:gd name="connsiteY15" fmla="*/ 43046 h 313756"/>
                  <a:gd name="connsiteX16" fmla="*/ 69299 w 251021"/>
                  <a:gd name="connsiteY16" fmla="*/ 51424 h 313756"/>
                  <a:gd name="connsiteX17" fmla="*/ 54976 w 251021"/>
                  <a:gd name="connsiteY17" fmla="*/ 65786 h 313756"/>
                  <a:gd name="connsiteX18" fmla="*/ 46019 w 251021"/>
                  <a:gd name="connsiteY18" fmla="*/ 86016 h 313756"/>
                  <a:gd name="connsiteX19" fmla="*/ 46019 w 251021"/>
                  <a:gd name="connsiteY19" fmla="*/ 227857 h 313756"/>
                  <a:gd name="connsiteX20" fmla="*/ 54976 w 251021"/>
                  <a:gd name="connsiteY20" fmla="*/ 248125 h 313756"/>
                  <a:gd name="connsiteX21" fmla="*/ 69377 w 251021"/>
                  <a:gd name="connsiteY21" fmla="*/ 262487 h 313756"/>
                  <a:gd name="connsiteX22" fmla="*/ 91460 w 251021"/>
                  <a:gd name="connsiteY22" fmla="*/ 270826 h 313756"/>
                  <a:gd name="connsiteX23" fmla="*/ 165893 w 251021"/>
                  <a:gd name="connsiteY23" fmla="*/ 270826 h 313756"/>
                  <a:gd name="connsiteX24" fmla="*/ 192223 w 251021"/>
                  <a:gd name="connsiteY24" fmla="*/ 265923 h 313756"/>
                  <a:gd name="connsiteX25" fmla="*/ 232837 w 251021"/>
                  <a:gd name="connsiteY25" fmla="*/ 246620 h 313756"/>
                  <a:gd name="connsiteX26" fmla="*/ 251021 w 251021"/>
                  <a:gd name="connsiteY26" fmla="*/ 280285 h 313756"/>
                  <a:gd name="connsiteX27" fmla="*/ 214808 w 251021"/>
                  <a:gd name="connsiteY27" fmla="*/ 302291 h 313756"/>
                  <a:gd name="connsiteX28" fmla="*/ 168441 w 251021"/>
                  <a:gd name="connsiteY28" fmla="*/ 313757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1021" h="313756">
                    <a:moveTo>
                      <a:pt x="168441" y="313757"/>
                    </a:moveTo>
                    <a:lnTo>
                      <a:pt x="85244" y="313757"/>
                    </a:lnTo>
                    <a:cubicBezTo>
                      <a:pt x="61501" y="313757"/>
                      <a:pt x="50498" y="309587"/>
                      <a:pt x="36098" y="295187"/>
                    </a:cubicBezTo>
                    <a:lnTo>
                      <a:pt x="19805" y="278934"/>
                    </a:lnTo>
                    <a:cubicBezTo>
                      <a:pt x="2587" y="261715"/>
                      <a:pt x="0" y="254882"/>
                      <a:pt x="0" y="226621"/>
                    </a:cubicBezTo>
                    <a:lnTo>
                      <a:pt x="0" y="87135"/>
                    </a:lnTo>
                    <a:cubicBezTo>
                      <a:pt x="0" y="58914"/>
                      <a:pt x="2587" y="52042"/>
                      <a:pt x="19805" y="34823"/>
                    </a:cubicBezTo>
                    <a:lnTo>
                      <a:pt x="36098" y="18570"/>
                    </a:lnTo>
                    <a:cubicBezTo>
                      <a:pt x="50459" y="4169"/>
                      <a:pt x="61501" y="0"/>
                      <a:pt x="85244" y="0"/>
                    </a:cubicBezTo>
                    <a:lnTo>
                      <a:pt x="164079" y="0"/>
                    </a:lnTo>
                    <a:cubicBezTo>
                      <a:pt x="186432" y="0"/>
                      <a:pt x="194964" y="2741"/>
                      <a:pt x="210407" y="11582"/>
                    </a:cubicBezTo>
                    <a:lnTo>
                      <a:pt x="246658" y="32275"/>
                    </a:lnTo>
                    <a:lnTo>
                      <a:pt x="228475" y="66635"/>
                    </a:lnTo>
                    <a:lnTo>
                      <a:pt x="187822" y="47911"/>
                    </a:lnTo>
                    <a:cubicBezTo>
                      <a:pt x="179541" y="44312"/>
                      <a:pt x="170551" y="42648"/>
                      <a:pt x="161530" y="43046"/>
                    </a:cubicBezTo>
                    <a:lnTo>
                      <a:pt x="91460" y="43046"/>
                    </a:lnTo>
                    <a:cubicBezTo>
                      <a:pt x="79260" y="43046"/>
                      <a:pt x="77137" y="44205"/>
                      <a:pt x="69299" y="51424"/>
                    </a:cubicBezTo>
                    <a:lnTo>
                      <a:pt x="54976" y="65786"/>
                    </a:lnTo>
                    <a:cubicBezTo>
                      <a:pt x="47525" y="73237"/>
                      <a:pt x="46019" y="76634"/>
                      <a:pt x="46019" y="86016"/>
                    </a:cubicBezTo>
                    <a:lnTo>
                      <a:pt x="46019" y="227857"/>
                    </a:lnTo>
                    <a:cubicBezTo>
                      <a:pt x="46019" y="237238"/>
                      <a:pt x="47525" y="240674"/>
                      <a:pt x="54976" y="248125"/>
                    </a:cubicBezTo>
                    <a:lnTo>
                      <a:pt x="69377" y="262487"/>
                    </a:lnTo>
                    <a:cubicBezTo>
                      <a:pt x="77098" y="269668"/>
                      <a:pt x="79260" y="270826"/>
                      <a:pt x="91460" y="270826"/>
                    </a:cubicBezTo>
                    <a:lnTo>
                      <a:pt x="165893" y="270826"/>
                    </a:lnTo>
                    <a:cubicBezTo>
                      <a:pt x="174930" y="271232"/>
                      <a:pt x="183938" y="269555"/>
                      <a:pt x="192223" y="265923"/>
                    </a:cubicBezTo>
                    <a:lnTo>
                      <a:pt x="232837" y="246620"/>
                    </a:lnTo>
                    <a:lnTo>
                      <a:pt x="251021" y="280285"/>
                    </a:lnTo>
                    <a:lnTo>
                      <a:pt x="214808" y="302291"/>
                    </a:lnTo>
                    <a:cubicBezTo>
                      <a:pt x="199945" y="311595"/>
                      <a:pt x="191258" y="313757"/>
                      <a:pt x="168441" y="313757"/>
                    </a:cubicBezTo>
                    <a:close/>
                  </a:path>
                </a:pathLst>
              </a:custGeom>
              <a:grpFill/>
              <a:ln w="3861"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AF50F95C-D1F7-53D7-A5F5-624565379838}"/>
                  </a:ext>
                </a:extLst>
              </p:cNvPr>
              <p:cNvSpPr/>
              <p:nvPr/>
            </p:nvSpPr>
            <p:spPr>
              <a:xfrm>
                <a:off x="8089071" y="7230666"/>
                <a:ext cx="268625" cy="313946"/>
              </a:xfrm>
              <a:custGeom>
                <a:avLst/>
                <a:gdLst>
                  <a:gd name="connsiteX0" fmla="*/ 184077 w 268625"/>
                  <a:gd name="connsiteY0" fmla="*/ 313873 h 313946"/>
                  <a:gd name="connsiteX1" fmla="*/ 85244 w 268625"/>
                  <a:gd name="connsiteY1" fmla="*/ 313873 h 313946"/>
                  <a:gd name="connsiteX2" fmla="*/ 36059 w 268625"/>
                  <a:gd name="connsiteY2" fmla="*/ 295303 h 313946"/>
                  <a:gd name="connsiteX3" fmla="*/ 19805 w 268625"/>
                  <a:gd name="connsiteY3" fmla="*/ 279049 h 313946"/>
                  <a:gd name="connsiteX4" fmla="*/ 0 w 268625"/>
                  <a:gd name="connsiteY4" fmla="*/ 226737 h 313946"/>
                  <a:gd name="connsiteX5" fmla="*/ 0 w 268625"/>
                  <a:gd name="connsiteY5" fmla="*/ 203573 h 313946"/>
                  <a:gd name="connsiteX6" fmla="*/ 19805 w 268625"/>
                  <a:gd name="connsiteY6" fmla="*/ 151261 h 313946"/>
                  <a:gd name="connsiteX7" fmla="*/ 36059 w 268625"/>
                  <a:gd name="connsiteY7" fmla="*/ 135008 h 313946"/>
                  <a:gd name="connsiteX8" fmla="*/ 85244 w 268625"/>
                  <a:gd name="connsiteY8" fmla="*/ 116476 h 313946"/>
                  <a:gd name="connsiteX9" fmla="*/ 165314 w 268625"/>
                  <a:gd name="connsiteY9" fmla="*/ 116476 h 313946"/>
                  <a:gd name="connsiteX10" fmla="*/ 198207 w 268625"/>
                  <a:gd name="connsiteY10" fmla="*/ 120878 h 313946"/>
                  <a:gd name="connsiteX11" fmla="*/ 222645 w 268625"/>
                  <a:gd name="connsiteY11" fmla="*/ 127865 h 313946"/>
                  <a:gd name="connsiteX12" fmla="*/ 222645 w 268625"/>
                  <a:gd name="connsiteY12" fmla="*/ 84742 h 313946"/>
                  <a:gd name="connsiteX13" fmla="*/ 213689 w 268625"/>
                  <a:gd name="connsiteY13" fmla="*/ 64512 h 313946"/>
                  <a:gd name="connsiteX14" fmla="*/ 199288 w 268625"/>
                  <a:gd name="connsiteY14" fmla="*/ 50111 h 313946"/>
                  <a:gd name="connsiteX15" fmla="*/ 177166 w 268625"/>
                  <a:gd name="connsiteY15" fmla="*/ 41811 h 313946"/>
                  <a:gd name="connsiteX16" fmla="*/ 99644 w 268625"/>
                  <a:gd name="connsiteY16" fmla="*/ 41811 h 313946"/>
                  <a:gd name="connsiteX17" fmla="*/ 75206 w 268625"/>
                  <a:gd name="connsiteY17" fmla="*/ 46676 h 313946"/>
                  <a:gd name="connsiteX18" fmla="*/ 34013 w 268625"/>
                  <a:gd name="connsiteY18" fmla="*/ 66635 h 313946"/>
                  <a:gd name="connsiteX19" fmla="*/ 15134 w 268625"/>
                  <a:gd name="connsiteY19" fmla="*/ 33588 h 313946"/>
                  <a:gd name="connsiteX20" fmla="*/ 51347 w 268625"/>
                  <a:gd name="connsiteY20" fmla="*/ 11582 h 313946"/>
                  <a:gd name="connsiteX21" fmla="*/ 97675 w 268625"/>
                  <a:gd name="connsiteY21" fmla="*/ 0 h 313946"/>
                  <a:gd name="connsiteX22" fmla="*/ 183343 w 268625"/>
                  <a:gd name="connsiteY22" fmla="*/ 0 h 313946"/>
                  <a:gd name="connsiteX23" fmla="*/ 232528 w 268625"/>
                  <a:gd name="connsiteY23" fmla="*/ 18570 h 313946"/>
                  <a:gd name="connsiteX24" fmla="*/ 248820 w 268625"/>
                  <a:gd name="connsiteY24" fmla="*/ 34823 h 313946"/>
                  <a:gd name="connsiteX25" fmla="*/ 268626 w 268625"/>
                  <a:gd name="connsiteY25" fmla="*/ 87135 h 313946"/>
                  <a:gd name="connsiteX26" fmla="*/ 268626 w 268625"/>
                  <a:gd name="connsiteY26" fmla="*/ 268587 h 313946"/>
                  <a:gd name="connsiteX27" fmla="*/ 252102 w 268625"/>
                  <a:gd name="connsiteY27" fmla="*/ 294338 h 313946"/>
                  <a:gd name="connsiteX28" fmla="*/ 220792 w 268625"/>
                  <a:gd name="connsiteY28" fmla="*/ 306846 h 313946"/>
                  <a:gd name="connsiteX29" fmla="*/ 184077 w 268625"/>
                  <a:gd name="connsiteY29" fmla="*/ 313873 h 313946"/>
                  <a:gd name="connsiteX30" fmla="*/ 90880 w 268625"/>
                  <a:gd name="connsiteY30" fmla="*/ 158133 h 313946"/>
                  <a:gd name="connsiteX31" fmla="*/ 68759 w 268625"/>
                  <a:gd name="connsiteY31" fmla="*/ 166472 h 313946"/>
                  <a:gd name="connsiteX32" fmla="*/ 55015 w 268625"/>
                  <a:gd name="connsiteY32" fmla="*/ 180216 h 313946"/>
                  <a:gd name="connsiteX33" fmla="*/ 46058 w 268625"/>
                  <a:gd name="connsiteY33" fmla="*/ 200485 h 313946"/>
                  <a:gd name="connsiteX34" fmla="*/ 46058 w 268625"/>
                  <a:gd name="connsiteY34" fmla="*/ 229903 h 313946"/>
                  <a:gd name="connsiteX35" fmla="*/ 55015 w 268625"/>
                  <a:gd name="connsiteY35" fmla="*/ 250133 h 313946"/>
                  <a:gd name="connsiteX36" fmla="*/ 68759 w 268625"/>
                  <a:gd name="connsiteY36" fmla="*/ 263915 h 313946"/>
                  <a:gd name="connsiteX37" fmla="*/ 90880 w 268625"/>
                  <a:gd name="connsiteY37" fmla="*/ 272216 h 313946"/>
                  <a:gd name="connsiteX38" fmla="*/ 180486 w 268625"/>
                  <a:gd name="connsiteY38" fmla="*/ 272216 h 313946"/>
                  <a:gd name="connsiteX39" fmla="*/ 193111 w 268625"/>
                  <a:gd name="connsiteY39" fmla="*/ 269822 h 313946"/>
                  <a:gd name="connsiteX40" fmla="*/ 220136 w 268625"/>
                  <a:gd name="connsiteY40" fmla="*/ 259205 h 313946"/>
                  <a:gd name="connsiteX41" fmla="*/ 222992 w 268625"/>
                  <a:gd name="connsiteY41" fmla="*/ 254920 h 313946"/>
                  <a:gd name="connsiteX42" fmla="*/ 222992 w 268625"/>
                  <a:gd name="connsiteY42" fmla="*/ 175429 h 313946"/>
                  <a:gd name="connsiteX43" fmla="*/ 217780 w 268625"/>
                  <a:gd name="connsiteY43" fmla="*/ 169329 h 313946"/>
                  <a:gd name="connsiteX44" fmla="*/ 186509 w 268625"/>
                  <a:gd name="connsiteY44" fmla="*/ 160565 h 313946"/>
                  <a:gd name="connsiteX45" fmla="*/ 164388 w 268625"/>
                  <a:gd name="connsiteY45" fmla="*/ 158133 h 31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8625" h="313946">
                    <a:moveTo>
                      <a:pt x="184077" y="313873"/>
                    </a:moveTo>
                    <a:lnTo>
                      <a:pt x="85244" y="313873"/>
                    </a:lnTo>
                    <a:cubicBezTo>
                      <a:pt x="61500" y="313873"/>
                      <a:pt x="50498" y="309703"/>
                      <a:pt x="36059" y="295303"/>
                    </a:cubicBezTo>
                    <a:lnTo>
                      <a:pt x="19805" y="279049"/>
                    </a:lnTo>
                    <a:cubicBezTo>
                      <a:pt x="2586" y="261831"/>
                      <a:pt x="0" y="254959"/>
                      <a:pt x="0" y="226737"/>
                    </a:cubicBezTo>
                    <a:lnTo>
                      <a:pt x="0" y="203573"/>
                    </a:lnTo>
                    <a:cubicBezTo>
                      <a:pt x="0" y="175352"/>
                      <a:pt x="2586" y="168518"/>
                      <a:pt x="19805" y="151261"/>
                    </a:cubicBezTo>
                    <a:lnTo>
                      <a:pt x="36059" y="135008"/>
                    </a:lnTo>
                    <a:cubicBezTo>
                      <a:pt x="50459" y="120607"/>
                      <a:pt x="61500" y="116476"/>
                      <a:pt x="85244" y="116476"/>
                    </a:cubicBezTo>
                    <a:lnTo>
                      <a:pt x="165314" y="116476"/>
                    </a:lnTo>
                    <a:cubicBezTo>
                      <a:pt x="176435" y="116313"/>
                      <a:pt x="187520" y="117796"/>
                      <a:pt x="198207" y="120878"/>
                    </a:cubicBezTo>
                    <a:lnTo>
                      <a:pt x="222645" y="127865"/>
                    </a:lnTo>
                    <a:lnTo>
                      <a:pt x="222645" y="84742"/>
                    </a:lnTo>
                    <a:cubicBezTo>
                      <a:pt x="222645" y="75360"/>
                      <a:pt x="221139" y="71963"/>
                      <a:pt x="213689" y="64512"/>
                    </a:cubicBezTo>
                    <a:lnTo>
                      <a:pt x="199288" y="50111"/>
                    </a:lnTo>
                    <a:cubicBezTo>
                      <a:pt x="191567" y="42969"/>
                      <a:pt x="189366" y="41811"/>
                      <a:pt x="177166" y="41811"/>
                    </a:cubicBezTo>
                    <a:lnTo>
                      <a:pt x="99644" y="41811"/>
                    </a:lnTo>
                    <a:cubicBezTo>
                      <a:pt x="91217" y="41332"/>
                      <a:pt x="82807" y="43006"/>
                      <a:pt x="75206" y="46676"/>
                    </a:cubicBezTo>
                    <a:lnTo>
                      <a:pt x="34013" y="66635"/>
                    </a:lnTo>
                    <a:lnTo>
                      <a:pt x="15134" y="33588"/>
                    </a:lnTo>
                    <a:lnTo>
                      <a:pt x="51347" y="11582"/>
                    </a:lnTo>
                    <a:cubicBezTo>
                      <a:pt x="66249" y="2278"/>
                      <a:pt x="74935" y="0"/>
                      <a:pt x="97675" y="0"/>
                    </a:cubicBezTo>
                    <a:lnTo>
                      <a:pt x="183343" y="0"/>
                    </a:lnTo>
                    <a:cubicBezTo>
                      <a:pt x="207125" y="0"/>
                      <a:pt x="218089" y="4169"/>
                      <a:pt x="232528" y="18570"/>
                    </a:cubicBezTo>
                    <a:lnTo>
                      <a:pt x="248820" y="34823"/>
                    </a:lnTo>
                    <a:cubicBezTo>
                      <a:pt x="266039" y="52042"/>
                      <a:pt x="268626" y="58914"/>
                      <a:pt x="268626" y="87135"/>
                    </a:cubicBezTo>
                    <a:lnTo>
                      <a:pt x="268626" y="268587"/>
                    </a:lnTo>
                    <a:cubicBezTo>
                      <a:pt x="268626" y="281945"/>
                      <a:pt x="263839" y="289396"/>
                      <a:pt x="252102" y="294338"/>
                    </a:cubicBezTo>
                    <a:lnTo>
                      <a:pt x="220792" y="306846"/>
                    </a:lnTo>
                    <a:cubicBezTo>
                      <a:pt x="209264" y="312007"/>
                      <a:pt x="196694" y="314412"/>
                      <a:pt x="184077" y="313873"/>
                    </a:cubicBezTo>
                    <a:close/>
                    <a:moveTo>
                      <a:pt x="90880" y="158133"/>
                    </a:moveTo>
                    <a:cubicBezTo>
                      <a:pt x="80032" y="158133"/>
                      <a:pt x="76055" y="159175"/>
                      <a:pt x="68759" y="166472"/>
                    </a:cubicBezTo>
                    <a:lnTo>
                      <a:pt x="55015" y="180216"/>
                    </a:lnTo>
                    <a:cubicBezTo>
                      <a:pt x="47564" y="187667"/>
                      <a:pt x="46058" y="191065"/>
                      <a:pt x="46058" y="200485"/>
                    </a:cubicBezTo>
                    <a:lnTo>
                      <a:pt x="46058" y="229903"/>
                    </a:lnTo>
                    <a:cubicBezTo>
                      <a:pt x="46058" y="239284"/>
                      <a:pt x="47564" y="242682"/>
                      <a:pt x="55015" y="250133"/>
                    </a:cubicBezTo>
                    <a:lnTo>
                      <a:pt x="68759" y="263915"/>
                    </a:lnTo>
                    <a:cubicBezTo>
                      <a:pt x="76480" y="271058"/>
                      <a:pt x="78680" y="272216"/>
                      <a:pt x="90880" y="272216"/>
                    </a:cubicBezTo>
                    <a:lnTo>
                      <a:pt x="180486" y="272216"/>
                    </a:lnTo>
                    <a:cubicBezTo>
                      <a:pt x="184816" y="272312"/>
                      <a:pt x="189117" y="271496"/>
                      <a:pt x="193111" y="269822"/>
                    </a:cubicBezTo>
                    <a:lnTo>
                      <a:pt x="220136" y="259205"/>
                    </a:lnTo>
                    <a:cubicBezTo>
                      <a:pt x="222722" y="258163"/>
                      <a:pt x="222992" y="257468"/>
                      <a:pt x="222992" y="254920"/>
                    </a:cubicBezTo>
                    <a:lnTo>
                      <a:pt x="222992" y="175429"/>
                    </a:lnTo>
                    <a:cubicBezTo>
                      <a:pt x="222992" y="171375"/>
                      <a:pt x="221873" y="170487"/>
                      <a:pt x="217780" y="169329"/>
                    </a:cubicBezTo>
                    <a:lnTo>
                      <a:pt x="186509" y="160565"/>
                    </a:lnTo>
                    <a:cubicBezTo>
                      <a:pt x="179276" y="158775"/>
                      <a:pt x="171837" y="157957"/>
                      <a:pt x="164388" y="158133"/>
                    </a:cubicBezTo>
                    <a:close/>
                  </a:path>
                </a:pathLst>
              </a:custGeom>
              <a:grpFill/>
              <a:ln w="3861"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42B1547A-0149-2C4B-BB82-EE35A279C425}"/>
                  </a:ext>
                </a:extLst>
              </p:cNvPr>
              <p:cNvSpPr/>
              <p:nvPr/>
            </p:nvSpPr>
            <p:spPr>
              <a:xfrm>
                <a:off x="8436802" y="7234566"/>
                <a:ext cx="265575" cy="310044"/>
              </a:xfrm>
              <a:custGeom>
                <a:avLst/>
                <a:gdLst>
                  <a:gd name="connsiteX0" fmla="*/ 180949 w 265575"/>
                  <a:gd name="connsiteY0" fmla="*/ 309973 h 310044"/>
                  <a:gd name="connsiteX1" fmla="*/ 85243 w 265575"/>
                  <a:gd name="connsiteY1" fmla="*/ 309973 h 310044"/>
                  <a:gd name="connsiteX2" fmla="*/ 36058 w 265575"/>
                  <a:gd name="connsiteY2" fmla="*/ 291404 h 310044"/>
                  <a:gd name="connsiteX3" fmla="*/ 19805 w 265575"/>
                  <a:gd name="connsiteY3" fmla="*/ 275150 h 310044"/>
                  <a:gd name="connsiteX4" fmla="*/ 0 w 265575"/>
                  <a:gd name="connsiteY4" fmla="*/ 222838 h 310044"/>
                  <a:gd name="connsiteX5" fmla="*/ 0 w 265575"/>
                  <a:gd name="connsiteY5" fmla="*/ 0 h 310044"/>
                  <a:gd name="connsiteX6" fmla="*/ 46019 w 265575"/>
                  <a:gd name="connsiteY6" fmla="*/ 0 h 310044"/>
                  <a:gd name="connsiteX7" fmla="*/ 46019 w 265575"/>
                  <a:gd name="connsiteY7" fmla="*/ 223919 h 310044"/>
                  <a:gd name="connsiteX8" fmla="*/ 54976 w 265575"/>
                  <a:gd name="connsiteY8" fmla="*/ 244188 h 310044"/>
                  <a:gd name="connsiteX9" fmla="*/ 69376 w 265575"/>
                  <a:gd name="connsiteY9" fmla="*/ 258549 h 310044"/>
                  <a:gd name="connsiteX10" fmla="*/ 91498 w 265575"/>
                  <a:gd name="connsiteY10" fmla="*/ 266888 h 310044"/>
                  <a:gd name="connsiteX11" fmla="*/ 178440 w 265575"/>
                  <a:gd name="connsiteY11" fmla="*/ 266888 h 310044"/>
                  <a:gd name="connsiteX12" fmla="*/ 188517 w 265575"/>
                  <a:gd name="connsiteY12" fmla="*/ 265112 h 310044"/>
                  <a:gd name="connsiteX13" fmla="*/ 216660 w 265575"/>
                  <a:gd name="connsiteY13" fmla="*/ 253839 h 310044"/>
                  <a:gd name="connsiteX14" fmla="*/ 219517 w 265575"/>
                  <a:gd name="connsiteY14" fmla="*/ 249592 h 310044"/>
                  <a:gd name="connsiteX15" fmla="*/ 219517 w 265575"/>
                  <a:gd name="connsiteY15" fmla="*/ 0 h 310044"/>
                  <a:gd name="connsiteX16" fmla="*/ 265576 w 265575"/>
                  <a:gd name="connsiteY16" fmla="*/ 0 h 310044"/>
                  <a:gd name="connsiteX17" fmla="*/ 265576 w 265575"/>
                  <a:gd name="connsiteY17" fmla="*/ 264611 h 310044"/>
                  <a:gd name="connsiteX18" fmla="*/ 249052 w 265575"/>
                  <a:gd name="connsiteY18" fmla="*/ 290361 h 310044"/>
                  <a:gd name="connsiteX19" fmla="*/ 217741 w 265575"/>
                  <a:gd name="connsiteY19" fmla="*/ 302870 h 310044"/>
                  <a:gd name="connsiteX20" fmla="*/ 180949 w 265575"/>
                  <a:gd name="connsiteY20" fmla="*/ 309973 h 31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5575" h="310044">
                    <a:moveTo>
                      <a:pt x="180949" y="309973"/>
                    </a:moveTo>
                    <a:lnTo>
                      <a:pt x="85243" y="309973"/>
                    </a:lnTo>
                    <a:cubicBezTo>
                      <a:pt x="61500" y="309973"/>
                      <a:pt x="50497" y="305804"/>
                      <a:pt x="36058" y="291404"/>
                    </a:cubicBezTo>
                    <a:lnTo>
                      <a:pt x="19805" y="275150"/>
                    </a:lnTo>
                    <a:cubicBezTo>
                      <a:pt x="2586" y="257931"/>
                      <a:pt x="0" y="251060"/>
                      <a:pt x="0" y="222838"/>
                    </a:cubicBezTo>
                    <a:lnTo>
                      <a:pt x="0" y="0"/>
                    </a:lnTo>
                    <a:lnTo>
                      <a:pt x="46019" y="0"/>
                    </a:lnTo>
                    <a:lnTo>
                      <a:pt x="46019" y="223919"/>
                    </a:lnTo>
                    <a:cubicBezTo>
                      <a:pt x="46019" y="233301"/>
                      <a:pt x="47563" y="236736"/>
                      <a:pt x="54976" y="244188"/>
                    </a:cubicBezTo>
                    <a:lnTo>
                      <a:pt x="69376" y="258549"/>
                    </a:lnTo>
                    <a:cubicBezTo>
                      <a:pt x="77097" y="265730"/>
                      <a:pt x="79298" y="266888"/>
                      <a:pt x="91498" y="266888"/>
                    </a:cubicBezTo>
                    <a:lnTo>
                      <a:pt x="178440" y="266888"/>
                    </a:lnTo>
                    <a:cubicBezTo>
                      <a:pt x="181880" y="266930"/>
                      <a:pt x="185298" y="266328"/>
                      <a:pt x="188517" y="265112"/>
                    </a:cubicBezTo>
                    <a:lnTo>
                      <a:pt x="216660" y="253839"/>
                    </a:lnTo>
                    <a:cubicBezTo>
                      <a:pt x="218549" y="253349"/>
                      <a:pt x="219775" y="251527"/>
                      <a:pt x="219517" y="249592"/>
                    </a:cubicBezTo>
                    <a:lnTo>
                      <a:pt x="219517" y="0"/>
                    </a:lnTo>
                    <a:lnTo>
                      <a:pt x="265576" y="0"/>
                    </a:lnTo>
                    <a:lnTo>
                      <a:pt x="265576" y="264611"/>
                    </a:lnTo>
                    <a:cubicBezTo>
                      <a:pt x="265576" y="277968"/>
                      <a:pt x="260789" y="285420"/>
                      <a:pt x="249052" y="290361"/>
                    </a:cubicBezTo>
                    <a:lnTo>
                      <a:pt x="217741" y="302870"/>
                    </a:lnTo>
                    <a:cubicBezTo>
                      <a:pt x="206197" y="308069"/>
                      <a:pt x="193599" y="310501"/>
                      <a:pt x="180949" y="309973"/>
                    </a:cubicBezTo>
                    <a:close/>
                  </a:path>
                </a:pathLst>
              </a:custGeom>
              <a:grpFill/>
              <a:ln w="3861"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B897B1AD-935D-AF86-0EB7-F62661B6CCCD}"/>
                  </a:ext>
                </a:extLst>
              </p:cNvPr>
              <p:cNvSpPr/>
              <p:nvPr/>
            </p:nvSpPr>
            <p:spPr>
              <a:xfrm>
                <a:off x="8769013" y="7230782"/>
                <a:ext cx="249205" cy="313756"/>
              </a:xfrm>
              <a:custGeom>
                <a:avLst/>
                <a:gdLst>
                  <a:gd name="connsiteX0" fmla="*/ 163924 w 249205"/>
                  <a:gd name="connsiteY0" fmla="*/ 313757 h 313756"/>
                  <a:gd name="connsiteX1" fmla="*/ 83892 w 249205"/>
                  <a:gd name="connsiteY1" fmla="*/ 313757 h 313756"/>
                  <a:gd name="connsiteX2" fmla="*/ 36213 w 249205"/>
                  <a:gd name="connsiteY2" fmla="*/ 302175 h 313756"/>
                  <a:gd name="connsiteX3" fmla="*/ 0 w 249205"/>
                  <a:gd name="connsiteY3" fmla="*/ 280169 h 313756"/>
                  <a:gd name="connsiteX4" fmla="*/ 18222 w 249205"/>
                  <a:gd name="connsiteY4" fmla="*/ 247122 h 313756"/>
                  <a:gd name="connsiteX5" fmla="*/ 62002 w 249205"/>
                  <a:gd name="connsiteY5" fmla="*/ 267738 h 313756"/>
                  <a:gd name="connsiteX6" fmla="*/ 87636 w 249205"/>
                  <a:gd name="connsiteY6" fmla="*/ 271946 h 313756"/>
                  <a:gd name="connsiteX7" fmla="*/ 158325 w 249205"/>
                  <a:gd name="connsiteY7" fmla="*/ 271946 h 313756"/>
                  <a:gd name="connsiteX8" fmla="*/ 180486 w 249205"/>
                  <a:gd name="connsiteY8" fmla="*/ 263607 h 313756"/>
                  <a:gd name="connsiteX9" fmla="*/ 195427 w 249205"/>
                  <a:gd name="connsiteY9" fmla="*/ 248627 h 313756"/>
                  <a:gd name="connsiteX10" fmla="*/ 204384 w 249205"/>
                  <a:gd name="connsiteY10" fmla="*/ 228397 h 313756"/>
                  <a:gd name="connsiteX11" fmla="*/ 204384 w 249205"/>
                  <a:gd name="connsiteY11" fmla="*/ 206623 h 313756"/>
                  <a:gd name="connsiteX12" fmla="*/ 183806 w 249205"/>
                  <a:gd name="connsiteY12" fmla="*/ 184270 h 313756"/>
                  <a:gd name="connsiteX13" fmla="*/ 67986 w 249205"/>
                  <a:gd name="connsiteY13" fmla="*/ 173653 h 313756"/>
                  <a:gd name="connsiteX14" fmla="*/ 22739 w 249205"/>
                  <a:gd name="connsiteY14" fmla="*/ 157013 h 313756"/>
                  <a:gd name="connsiteX15" fmla="*/ 6022 w 249205"/>
                  <a:gd name="connsiteY15" fmla="*/ 105898 h 313756"/>
                  <a:gd name="connsiteX16" fmla="*/ 6022 w 249205"/>
                  <a:gd name="connsiteY16" fmla="*/ 85900 h 313756"/>
                  <a:gd name="connsiteX17" fmla="*/ 25828 w 249205"/>
                  <a:gd name="connsiteY17" fmla="*/ 34823 h 313756"/>
                  <a:gd name="connsiteX18" fmla="*/ 42081 w 249205"/>
                  <a:gd name="connsiteY18" fmla="*/ 18570 h 313756"/>
                  <a:gd name="connsiteX19" fmla="*/ 91883 w 249205"/>
                  <a:gd name="connsiteY19" fmla="*/ 0 h 313756"/>
                  <a:gd name="connsiteX20" fmla="*/ 155700 w 249205"/>
                  <a:gd name="connsiteY20" fmla="*/ 0 h 313756"/>
                  <a:gd name="connsiteX21" fmla="*/ 202723 w 249205"/>
                  <a:gd name="connsiteY21" fmla="*/ 11582 h 313756"/>
                  <a:gd name="connsiteX22" fmla="*/ 238937 w 249205"/>
                  <a:gd name="connsiteY22" fmla="*/ 33549 h 313756"/>
                  <a:gd name="connsiteX23" fmla="*/ 220714 w 249205"/>
                  <a:gd name="connsiteY23" fmla="*/ 66597 h 313756"/>
                  <a:gd name="connsiteX24" fmla="*/ 176973 w 249205"/>
                  <a:gd name="connsiteY24" fmla="*/ 46637 h 313756"/>
                  <a:gd name="connsiteX25" fmla="*/ 151299 w 249205"/>
                  <a:gd name="connsiteY25" fmla="*/ 41772 h 313756"/>
                  <a:gd name="connsiteX26" fmla="*/ 97018 w 249205"/>
                  <a:gd name="connsiteY26" fmla="*/ 41772 h 313756"/>
                  <a:gd name="connsiteX27" fmla="*/ 74858 w 249205"/>
                  <a:gd name="connsiteY27" fmla="*/ 50150 h 313756"/>
                  <a:gd name="connsiteX28" fmla="*/ 59878 w 249205"/>
                  <a:gd name="connsiteY28" fmla="*/ 65091 h 313756"/>
                  <a:gd name="connsiteX29" fmla="*/ 50922 w 249205"/>
                  <a:gd name="connsiteY29" fmla="*/ 85359 h 313756"/>
                  <a:gd name="connsiteX30" fmla="*/ 50922 w 249205"/>
                  <a:gd name="connsiteY30" fmla="*/ 108523 h 313756"/>
                  <a:gd name="connsiteX31" fmla="*/ 71537 w 249205"/>
                  <a:gd name="connsiteY31" fmla="*/ 130838 h 313756"/>
                  <a:gd name="connsiteX32" fmla="*/ 185968 w 249205"/>
                  <a:gd name="connsiteY32" fmla="*/ 141494 h 313756"/>
                  <a:gd name="connsiteX33" fmla="*/ 234381 w 249205"/>
                  <a:gd name="connsiteY33" fmla="*/ 159407 h 313756"/>
                  <a:gd name="connsiteX34" fmla="*/ 249206 w 249205"/>
                  <a:gd name="connsiteY34" fmla="*/ 206739 h 313756"/>
                  <a:gd name="connsiteX35" fmla="*/ 249206 w 249205"/>
                  <a:gd name="connsiteY35" fmla="*/ 226737 h 313756"/>
                  <a:gd name="connsiteX36" fmla="*/ 229401 w 249205"/>
                  <a:gd name="connsiteY36" fmla="*/ 279049 h 313756"/>
                  <a:gd name="connsiteX37" fmla="*/ 213109 w 249205"/>
                  <a:gd name="connsiteY37" fmla="*/ 295303 h 313756"/>
                  <a:gd name="connsiteX38" fmla="*/ 163924 w 249205"/>
                  <a:gd name="connsiteY38" fmla="*/ 313757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49205" h="313756">
                    <a:moveTo>
                      <a:pt x="163924" y="313757"/>
                    </a:moveTo>
                    <a:lnTo>
                      <a:pt x="83892" y="313757"/>
                    </a:lnTo>
                    <a:cubicBezTo>
                      <a:pt x="62465" y="313757"/>
                      <a:pt x="52582" y="312097"/>
                      <a:pt x="36213" y="302175"/>
                    </a:cubicBezTo>
                    <a:lnTo>
                      <a:pt x="0" y="280169"/>
                    </a:lnTo>
                    <a:lnTo>
                      <a:pt x="18222" y="247122"/>
                    </a:lnTo>
                    <a:lnTo>
                      <a:pt x="62002" y="267738"/>
                    </a:lnTo>
                    <a:cubicBezTo>
                      <a:pt x="70106" y="271105"/>
                      <a:pt x="78881" y="272545"/>
                      <a:pt x="87636" y="271946"/>
                    </a:cubicBezTo>
                    <a:lnTo>
                      <a:pt x="158325" y="271946"/>
                    </a:lnTo>
                    <a:cubicBezTo>
                      <a:pt x="170487" y="271946"/>
                      <a:pt x="172649" y="270787"/>
                      <a:pt x="180486" y="263607"/>
                    </a:cubicBezTo>
                    <a:lnTo>
                      <a:pt x="195427" y="248627"/>
                    </a:lnTo>
                    <a:cubicBezTo>
                      <a:pt x="202878" y="241176"/>
                      <a:pt x="204384" y="237779"/>
                      <a:pt x="204384" y="228397"/>
                    </a:cubicBezTo>
                    <a:lnTo>
                      <a:pt x="204384" y="206623"/>
                    </a:lnTo>
                    <a:cubicBezTo>
                      <a:pt x="204384" y="190640"/>
                      <a:pt x="200175" y="186046"/>
                      <a:pt x="183806" y="184270"/>
                    </a:cubicBezTo>
                    <a:lnTo>
                      <a:pt x="67986" y="173653"/>
                    </a:lnTo>
                    <a:cubicBezTo>
                      <a:pt x="47370" y="171645"/>
                      <a:pt x="32545" y="166202"/>
                      <a:pt x="22739" y="157013"/>
                    </a:cubicBezTo>
                    <a:cubicBezTo>
                      <a:pt x="11157" y="146281"/>
                      <a:pt x="6022" y="129989"/>
                      <a:pt x="6022" y="105898"/>
                    </a:cubicBezTo>
                    <a:lnTo>
                      <a:pt x="6022" y="85900"/>
                    </a:lnTo>
                    <a:cubicBezTo>
                      <a:pt x="6022" y="60921"/>
                      <a:pt x="8339" y="52312"/>
                      <a:pt x="25828" y="34823"/>
                    </a:cubicBezTo>
                    <a:lnTo>
                      <a:pt x="42081" y="18570"/>
                    </a:lnTo>
                    <a:cubicBezTo>
                      <a:pt x="57137" y="4169"/>
                      <a:pt x="68334" y="0"/>
                      <a:pt x="91883" y="0"/>
                    </a:cubicBezTo>
                    <a:lnTo>
                      <a:pt x="155700" y="0"/>
                    </a:lnTo>
                    <a:cubicBezTo>
                      <a:pt x="177204" y="0"/>
                      <a:pt x="187049" y="1660"/>
                      <a:pt x="202723" y="11582"/>
                    </a:cubicBezTo>
                    <a:lnTo>
                      <a:pt x="238937" y="33549"/>
                    </a:lnTo>
                    <a:lnTo>
                      <a:pt x="220714" y="66597"/>
                    </a:lnTo>
                    <a:lnTo>
                      <a:pt x="176973" y="46637"/>
                    </a:lnTo>
                    <a:cubicBezTo>
                      <a:pt x="168917" y="43018"/>
                      <a:pt x="160121" y="41352"/>
                      <a:pt x="151299" y="41772"/>
                    </a:cubicBezTo>
                    <a:lnTo>
                      <a:pt x="97018" y="41772"/>
                    </a:lnTo>
                    <a:cubicBezTo>
                      <a:pt x="84819" y="41772"/>
                      <a:pt x="82657" y="42931"/>
                      <a:pt x="74858" y="50150"/>
                    </a:cubicBezTo>
                    <a:lnTo>
                      <a:pt x="59878" y="65091"/>
                    </a:lnTo>
                    <a:cubicBezTo>
                      <a:pt x="52427" y="72542"/>
                      <a:pt x="50922" y="75978"/>
                      <a:pt x="50922" y="85359"/>
                    </a:cubicBezTo>
                    <a:lnTo>
                      <a:pt x="50922" y="108523"/>
                    </a:lnTo>
                    <a:cubicBezTo>
                      <a:pt x="50922" y="124507"/>
                      <a:pt x="55168" y="129101"/>
                      <a:pt x="71537" y="130838"/>
                    </a:cubicBezTo>
                    <a:lnTo>
                      <a:pt x="185968" y="141494"/>
                    </a:lnTo>
                    <a:cubicBezTo>
                      <a:pt x="210175" y="144042"/>
                      <a:pt x="224189" y="149215"/>
                      <a:pt x="234381" y="159407"/>
                    </a:cubicBezTo>
                    <a:cubicBezTo>
                      <a:pt x="244573" y="169599"/>
                      <a:pt x="249206" y="184540"/>
                      <a:pt x="249206" y="206739"/>
                    </a:cubicBezTo>
                    <a:lnTo>
                      <a:pt x="249206" y="226737"/>
                    </a:lnTo>
                    <a:cubicBezTo>
                      <a:pt x="249206" y="254997"/>
                      <a:pt x="246619" y="261831"/>
                      <a:pt x="229401" y="279049"/>
                    </a:cubicBezTo>
                    <a:lnTo>
                      <a:pt x="213109" y="295303"/>
                    </a:lnTo>
                    <a:cubicBezTo>
                      <a:pt x="198709" y="309587"/>
                      <a:pt x="187744" y="313757"/>
                      <a:pt x="163924" y="313757"/>
                    </a:cubicBezTo>
                    <a:close/>
                  </a:path>
                </a:pathLst>
              </a:custGeom>
              <a:grpFill/>
              <a:ln w="3861"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F9216659-B01C-DFB6-E0A9-F8CF0D640F73}"/>
                  </a:ext>
                </a:extLst>
              </p:cNvPr>
              <p:cNvSpPr/>
              <p:nvPr/>
            </p:nvSpPr>
            <p:spPr>
              <a:xfrm>
                <a:off x="9084661" y="7230782"/>
                <a:ext cx="264302" cy="313756"/>
              </a:xfrm>
              <a:custGeom>
                <a:avLst/>
                <a:gdLst>
                  <a:gd name="connsiteX0" fmla="*/ 177900 w 264302"/>
                  <a:gd name="connsiteY0" fmla="*/ 313757 h 313756"/>
                  <a:gd name="connsiteX1" fmla="*/ 85244 w 264302"/>
                  <a:gd name="connsiteY1" fmla="*/ 313757 h 313756"/>
                  <a:gd name="connsiteX2" fmla="*/ 36059 w 264302"/>
                  <a:gd name="connsiteY2" fmla="*/ 295187 h 313756"/>
                  <a:gd name="connsiteX3" fmla="*/ 19806 w 264302"/>
                  <a:gd name="connsiteY3" fmla="*/ 278934 h 313756"/>
                  <a:gd name="connsiteX4" fmla="*/ 0 w 264302"/>
                  <a:gd name="connsiteY4" fmla="*/ 226621 h 313756"/>
                  <a:gd name="connsiteX5" fmla="*/ 0 w 264302"/>
                  <a:gd name="connsiteY5" fmla="*/ 87135 h 313756"/>
                  <a:gd name="connsiteX6" fmla="*/ 19806 w 264302"/>
                  <a:gd name="connsiteY6" fmla="*/ 34823 h 313756"/>
                  <a:gd name="connsiteX7" fmla="*/ 36059 w 264302"/>
                  <a:gd name="connsiteY7" fmla="*/ 18570 h 313756"/>
                  <a:gd name="connsiteX8" fmla="*/ 85244 w 264302"/>
                  <a:gd name="connsiteY8" fmla="*/ 0 h 313756"/>
                  <a:gd name="connsiteX9" fmla="*/ 179058 w 264302"/>
                  <a:gd name="connsiteY9" fmla="*/ 0 h 313756"/>
                  <a:gd name="connsiteX10" fmla="*/ 228243 w 264302"/>
                  <a:gd name="connsiteY10" fmla="*/ 18570 h 313756"/>
                  <a:gd name="connsiteX11" fmla="*/ 244497 w 264302"/>
                  <a:gd name="connsiteY11" fmla="*/ 34823 h 313756"/>
                  <a:gd name="connsiteX12" fmla="*/ 264302 w 264302"/>
                  <a:gd name="connsiteY12" fmla="*/ 87135 h 313756"/>
                  <a:gd name="connsiteX13" fmla="*/ 264302 w 264302"/>
                  <a:gd name="connsiteY13" fmla="*/ 155315 h 313756"/>
                  <a:gd name="connsiteX14" fmla="*/ 243493 w 264302"/>
                  <a:gd name="connsiteY14" fmla="*/ 177398 h 313756"/>
                  <a:gd name="connsiteX15" fmla="*/ 46020 w 264302"/>
                  <a:gd name="connsiteY15" fmla="*/ 177398 h 313756"/>
                  <a:gd name="connsiteX16" fmla="*/ 46020 w 264302"/>
                  <a:gd name="connsiteY16" fmla="*/ 229131 h 313756"/>
                  <a:gd name="connsiteX17" fmla="*/ 54977 w 264302"/>
                  <a:gd name="connsiteY17" fmla="*/ 249361 h 313756"/>
                  <a:gd name="connsiteX18" fmla="*/ 69377 w 264302"/>
                  <a:gd name="connsiteY18" fmla="*/ 263761 h 313756"/>
                  <a:gd name="connsiteX19" fmla="*/ 91499 w 264302"/>
                  <a:gd name="connsiteY19" fmla="*/ 272062 h 313756"/>
                  <a:gd name="connsiteX20" fmla="*/ 175314 w 264302"/>
                  <a:gd name="connsiteY20" fmla="*/ 272062 h 313756"/>
                  <a:gd name="connsiteX21" fmla="*/ 201644 w 264302"/>
                  <a:gd name="connsiteY21" fmla="*/ 267197 h 313756"/>
                  <a:gd name="connsiteX22" fmla="*/ 241562 w 264302"/>
                  <a:gd name="connsiteY22" fmla="*/ 247894 h 313756"/>
                  <a:gd name="connsiteX23" fmla="*/ 260442 w 264302"/>
                  <a:gd name="connsiteY23" fmla="*/ 280323 h 313756"/>
                  <a:gd name="connsiteX24" fmla="*/ 224228 w 264302"/>
                  <a:gd name="connsiteY24" fmla="*/ 302329 h 313756"/>
                  <a:gd name="connsiteX25" fmla="*/ 177900 w 264302"/>
                  <a:gd name="connsiteY25" fmla="*/ 313757 h 313756"/>
                  <a:gd name="connsiteX26" fmla="*/ 46097 w 264302"/>
                  <a:gd name="connsiteY26" fmla="*/ 137131 h 313756"/>
                  <a:gd name="connsiteX27" fmla="*/ 218978 w 264302"/>
                  <a:gd name="connsiteY27" fmla="*/ 137131 h 313756"/>
                  <a:gd name="connsiteX28" fmla="*/ 218978 w 264302"/>
                  <a:gd name="connsiteY28" fmla="*/ 84008 h 313756"/>
                  <a:gd name="connsiteX29" fmla="*/ 209365 w 264302"/>
                  <a:gd name="connsiteY29" fmla="*/ 63778 h 313756"/>
                  <a:gd name="connsiteX30" fmla="*/ 195003 w 264302"/>
                  <a:gd name="connsiteY30" fmla="*/ 49378 h 313756"/>
                  <a:gd name="connsiteX31" fmla="*/ 172881 w 264302"/>
                  <a:gd name="connsiteY31" fmla="*/ 41077 h 313756"/>
                  <a:gd name="connsiteX32" fmla="*/ 91576 w 264302"/>
                  <a:gd name="connsiteY32" fmla="*/ 41077 h 313756"/>
                  <a:gd name="connsiteX33" fmla="*/ 69416 w 264302"/>
                  <a:gd name="connsiteY33" fmla="*/ 49417 h 313756"/>
                  <a:gd name="connsiteX34" fmla="*/ 55053 w 264302"/>
                  <a:gd name="connsiteY34" fmla="*/ 63778 h 313756"/>
                  <a:gd name="connsiteX35" fmla="*/ 46097 w 264302"/>
                  <a:gd name="connsiteY35" fmla="*/ 84008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4302" h="313756">
                    <a:moveTo>
                      <a:pt x="177900" y="313757"/>
                    </a:moveTo>
                    <a:lnTo>
                      <a:pt x="85244" y="313757"/>
                    </a:lnTo>
                    <a:cubicBezTo>
                      <a:pt x="61501" y="313757"/>
                      <a:pt x="50498" y="309587"/>
                      <a:pt x="36059" y="295187"/>
                    </a:cubicBezTo>
                    <a:lnTo>
                      <a:pt x="19806" y="278934"/>
                    </a:lnTo>
                    <a:cubicBezTo>
                      <a:pt x="2587" y="261715"/>
                      <a:pt x="0" y="254882"/>
                      <a:pt x="0" y="226621"/>
                    </a:cubicBezTo>
                    <a:lnTo>
                      <a:pt x="0" y="87135"/>
                    </a:lnTo>
                    <a:cubicBezTo>
                      <a:pt x="0" y="58914"/>
                      <a:pt x="2587" y="52042"/>
                      <a:pt x="19806" y="34823"/>
                    </a:cubicBezTo>
                    <a:lnTo>
                      <a:pt x="36059" y="18570"/>
                    </a:lnTo>
                    <a:cubicBezTo>
                      <a:pt x="50459" y="4169"/>
                      <a:pt x="61501" y="0"/>
                      <a:pt x="85244" y="0"/>
                    </a:cubicBezTo>
                    <a:lnTo>
                      <a:pt x="179058" y="0"/>
                    </a:lnTo>
                    <a:cubicBezTo>
                      <a:pt x="202801" y="0"/>
                      <a:pt x="213804" y="4169"/>
                      <a:pt x="228243" y="18570"/>
                    </a:cubicBezTo>
                    <a:lnTo>
                      <a:pt x="244497" y="34823"/>
                    </a:lnTo>
                    <a:cubicBezTo>
                      <a:pt x="261715" y="52042"/>
                      <a:pt x="264302" y="58914"/>
                      <a:pt x="264302" y="87135"/>
                    </a:cubicBezTo>
                    <a:lnTo>
                      <a:pt x="264302" y="155315"/>
                    </a:lnTo>
                    <a:cubicBezTo>
                      <a:pt x="264302" y="169561"/>
                      <a:pt x="256928" y="177398"/>
                      <a:pt x="243493" y="177398"/>
                    </a:cubicBezTo>
                    <a:lnTo>
                      <a:pt x="46020" y="177398"/>
                    </a:lnTo>
                    <a:lnTo>
                      <a:pt x="46020" y="229131"/>
                    </a:lnTo>
                    <a:cubicBezTo>
                      <a:pt x="46020" y="238512"/>
                      <a:pt x="47525" y="241910"/>
                      <a:pt x="54977" y="249361"/>
                    </a:cubicBezTo>
                    <a:lnTo>
                      <a:pt x="69377" y="263761"/>
                    </a:lnTo>
                    <a:cubicBezTo>
                      <a:pt x="77098" y="271482"/>
                      <a:pt x="79260" y="272062"/>
                      <a:pt x="91499" y="272062"/>
                    </a:cubicBezTo>
                    <a:lnTo>
                      <a:pt x="175314" y="272062"/>
                    </a:lnTo>
                    <a:cubicBezTo>
                      <a:pt x="184345" y="272456"/>
                      <a:pt x="193349" y="270793"/>
                      <a:pt x="201644" y="267197"/>
                    </a:cubicBezTo>
                    <a:lnTo>
                      <a:pt x="241562" y="247894"/>
                    </a:lnTo>
                    <a:lnTo>
                      <a:pt x="260442" y="280323"/>
                    </a:lnTo>
                    <a:lnTo>
                      <a:pt x="224228" y="302329"/>
                    </a:lnTo>
                    <a:cubicBezTo>
                      <a:pt x="209365" y="311595"/>
                      <a:pt x="200717" y="313757"/>
                      <a:pt x="177900" y="313757"/>
                    </a:cubicBezTo>
                    <a:close/>
                    <a:moveTo>
                      <a:pt x="46097" y="137131"/>
                    </a:moveTo>
                    <a:lnTo>
                      <a:pt x="218978" y="137131"/>
                    </a:lnTo>
                    <a:lnTo>
                      <a:pt x="218978" y="84008"/>
                    </a:lnTo>
                    <a:cubicBezTo>
                      <a:pt x="218978" y="74704"/>
                      <a:pt x="216932" y="71307"/>
                      <a:pt x="209365" y="63778"/>
                    </a:cubicBezTo>
                    <a:lnTo>
                      <a:pt x="195003" y="49378"/>
                    </a:lnTo>
                    <a:cubicBezTo>
                      <a:pt x="187281" y="42236"/>
                      <a:pt x="185081" y="41077"/>
                      <a:pt x="172881" y="41077"/>
                    </a:cubicBezTo>
                    <a:lnTo>
                      <a:pt x="91576" y="41077"/>
                    </a:lnTo>
                    <a:cubicBezTo>
                      <a:pt x="79376" y="41077"/>
                      <a:pt x="77213" y="42236"/>
                      <a:pt x="69416" y="49417"/>
                    </a:cubicBezTo>
                    <a:lnTo>
                      <a:pt x="55053" y="63778"/>
                    </a:lnTo>
                    <a:cubicBezTo>
                      <a:pt x="47602" y="71229"/>
                      <a:pt x="46097" y="74627"/>
                      <a:pt x="46097" y="84008"/>
                    </a:cubicBezTo>
                    <a:close/>
                  </a:path>
                </a:pathLst>
              </a:custGeom>
              <a:grpFill/>
              <a:ln w="3861"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1734900A-C878-F079-73FF-670AAF39D2B1}"/>
                  </a:ext>
                </a:extLst>
              </p:cNvPr>
              <p:cNvSpPr/>
              <p:nvPr/>
            </p:nvSpPr>
            <p:spPr>
              <a:xfrm>
                <a:off x="9578865" y="7234566"/>
                <a:ext cx="450038" cy="310012"/>
              </a:xfrm>
              <a:custGeom>
                <a:avLst/>
                <a:gdLst>
                  <a:gd name="connsiteX0" fmla="*/ 332868 w 450038"/>
                  <a:gd name="connsiteY0" fmla="*/ 309973 h 310012"/>
                  <a:gd name="connsiteX1" fmla="*/ 319124 w 450038"/>
                  <a:gd name="connsiteY1" fmla="*/ 309973 h 310012"/>
                  <a:gd name="connsiteX2" fmla="*/ 291018 w 450038"/>
                  <a:gd name="connsiteY2" fmla="*/ 294955 h 310012"/>
                  <a:gd name="connsiteX3" fmla="*/ 224653 w 450038"/>
                  <a:gd name="connsiteY3" fmla="*/ 202840 h 310012"/>
                  <a:gd name="connsiteX4" fmla="*/ 159022 w 450038"/>
                  <a:gd name="connsiteY4" fmla="*/ 295033 h 310012"/>
                  <a:gd name="connsiteX5" fmla="*/ 130916 w 450038"/>
                  <a:gd name="connsiteY5" fmla="*/ 310012 h 310012"/>
                  <a:gd name="connsiteX6" fmla="*/ 117172 w 450038"/>
                  <a:gd name="connsiteY6" fmla="*/ 310012 h 310012"/>
                  <a:gd name="connsiteX7" fmla="*/ 89105 w 450038"/>
                  <a:gd name="connsiteY7" fmla="*/ 294994 h 310012"/>
                  <a:gd name="connsiteX8" fmla="*/ 20925 w 450038"/>
                  <a:gd name="connsiteY8" fmla="*/ 199944 h 310012"/>
                  <a:gd name="connsiteX9" fmla="*/ 0 w 450038"/>
                  <a:gd name="connsiteY9" fmla="*/ 140297 h 310012"/>
                  <a:gd name="connsiteX10" fmla="*/ 0 w 450038"/>
                  <a:gd name="connsiteY10" fmla="*/ 0 h 310012"/>
                  <a:gd name="connsiteX11" fmla="*/ 46058 w 450038"/>
                  <a:gd name="connsiteY11" fmla="*/ 0 h 310012"/>
                  <a:gd name="connsiteX12" fmla="*/ 46058 w 450038"/>
                  <a:gd name="connsiteY12" fmla="*/ 144042 h 310012"/>
                  <a:gd name="connsiteX13" fmla="*/ 55826 w 450038"/>
                  <a:gd name="connsiteY13" fmla="*/ 174464 h 310012"/>
                  <a:gd name="connsiteX14" fmla="*/ 123967 w 450038"/>
                  <a:gd name="connsiteY14" fmla="*/ 268471 h 310012"/>
                  <a:gd name="connsiteX15" fmla="*/ 192223 w 450038"/>
                  <a:gd name="connsiteY15" fmla="*/ 174425 h 310012"/>
                  <a:gd name="connsiteX16" fmla="*/ 201952 w 450038"/>
                  <a:gd name="connsiteY16" fmla="*/ 144003 h 310012"/>
                  <a:gd name="connsiteX17" fmla="*/ 201952 w 450038"/>
                  <a:gd name="connsiteY17" fmla="*/ 0 h 310012"/>
                  <a:gd name="connsiteX18" fmla="*/ 248009 w 450038"/>
                  <a:gd name="connsiteY18" fmla="*/ 0 h 310012"/>
                  <a:gd name="connsiteX19" fmla="*/ 248009 w 450038"/>
                  <a:gd name="connsiteY19" fmla="*/ 144042 h 310012"/>
                  <a:gd name="connsiteX20" fmla="*/ 257738 w 450038"/>
                  <a:gd name="connsiteY20" fmla="*/ 174464 h 310012"/>
                  <a:gd name="connsiteX21" fmla="*/ 325996 w 450038"/>
                  <a:gd name="connsiteY21" fmla="*/ 268471 h 310012"/>
                  <a:gd name="connsiteX22" fmla="*/ 394252 w 450038"/>
                  <a:gd name="connsiteY22" fmla="*/ 174425 h 310012"/>
                  <a:gd name="connsiteX23" fmla="*/ 403981 w 450038"/>
                  <a:gd name="connsiteY23" fmla="*/ 144003 h 310012"/>
                  <a:gd name="connsiteX24" fmla="*/ 403981 w 450038"/>
                  <a:gd name="connsiteY24" fmla="*/ 0 h 310012"/>
                  <a:gd name="connsiteX25" fmla="*/ 450039 w 450038"/>
                  <a:gd name="connsiteY25" fmla="*/ 0 h 310012"/>
                  <a:gd name="connsiteX26" fmla="*/ 450039 w 450038"/>
                  <a:gd name="connsiteY26" fmla="*/ 140258 h 310012"/>
                  <a:gd name="connsiteX27" fmla="*/ 429114 w 450038"/>
                  <a:gd name="connsiteY27" fmla="*/ 199906 h 310012"/>
                  <a:gd name="connsiteX28" fmla="*/ 360934 w 450038"/>
                  <a:gd name="connsiteY28" fmla="*/ 294994 h 310012"/>
                  <a:gd name="connsiteX29" fmla="*/ 332868 w 450038"/>
                  <a:gd name="connsiteY29" fmla="*/ 309973 h 31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0038" h="310012">
                    <a:moveTo>
                      <a:pt x="332868" y="309973"/>
                    </a:moveTo>
                    <a:lnTo>
                      <a:pt x="319124" y="309973"/>
                    </a:lnTo>
                    <a:cubicBezTo>
                      <a:pt x="307194" y="309973"/>
                      <a:pt x="299820" y="307734"/>
                      <a:pt x="291018" y="294955"/>
                    </a:cubicBezTo>
                    <a:lnTo>
                      <a:pt x="224653" y="202840"/>
                    </a:lnTo>
                    <a:lnTo>
                      <a:pt x="159022" y="295033"/>
                    </a:lnTo>
                    <a:cubicBezTo>
                      <a:pt x="150065" y="307773"/>
                      <a:pt x="142845" y="310012"/>
                      <a:pt x="130916" y="310012"/>
                    </a:cubicBezTo>
                    <a:lnTo>
                      <a:pt x="117172" y="310012"/>
                    </a:lnTo>
                    <a:cubicBezTo>
                      <a:pt x="105242" y="310012"/>
                      <a:pt x="97868" y="307773"/>
                      <a:pt x="89105" y="294994"/>
                    </a:cubicBezTo>
                    <a:lnTo>
                      <a:pt x="20925" y="199944"/>
                    </a:lnTo>
                    <a:cubicBezTo>
                      <a:pt x="6177" y="179058"/>
                      <a:pt x="0" y="166163"/>
                      <a:pt x="0" y="140297"/>
                    </a:cubicBezTo>
                    <a:lnTo>
                      <a:pt x="0" y="0"/>
                    </a:lnTo>
                    <a:lnTo>
                      <a:pt x="46058" y="0"/>
                    </a:lnTo>
                    <a:lnTo>
                      <a:pt x="46058" y="144042"/>
                    </a:lnTo>
                    <a:cubicBezTo>
                      <a:pt x="46058" y="157207"/>
                      <a:pt x="47024" y="161917"/>
                      <a:pt x="55826" y="174464"/>
                    </a:cubicBezTo>
                    <a:lnTo>
                      <a:pt x="123967" y="268471"/>
                    </a:lnTo>
                    <a:lnTo>
                      <a:pt x="192223" y="174425"/>
                    </a:lnTo>
                    <a:cubicBezTo>
                      <a:pt x="200987" y="161878"/>
                      <a:pt x="201952" y="157168"/>
                      <a:pt x="201952" y="144003"/>
                    </a:cubicBezTo>
                    <a:lnTo>
                      <a:pt x="201952" y="0"/>
                    </a:lnTo>
                    <a:lnTo>
                      <a:pt x="248009" y="0"/>
                    </a:lnTo>
                    <a:lnTo>
                      <a:pt x="248009" y="144042"/>
                    </a:lnTo>
                    <a:cubicBezTo>
                      <a:pt x="248009" y="157207"/>
                      <a:pt x="248975" y="161917"/>
                      <a:pt x="257738" y="174464"/>
                    </a:cubicBezTo>
                    <a:lnTo>
                      <a:pt x="325996" y="268471"/>
                    </a:lnTo>
                    <a:lnTo>
                      <a:pt x="394252" y="174425"/>
                    </a:lnTo>
                    <a:cubicBezTo>
                      <a:pt x="403016" y="161878"/>
                      <a:pt x="403981" y="157168"/>
                      <a:pt x="403981" y="144003"/>
                    </a:cubicBezTo>
                    <a:lnTo>
                      <a:pt x="403981" y="0"/>
                    </a:lnTo>
                    <a:lnTo>
                      <a:pt x="450039" y="0"/>
                    </a:lnTo>
                    <a:lnTo>
                      <a:pt x="450039" y="140258"/>
                    </a:lnTo>
                    <a:cubicBezTo>
                      <a:pt x="450039" y="166125"/>
                      <a:pt x="443862" y="178865"/>
                      <a:pt x="429114" y="199906"/>
                    </a:cubicBezTo>
                    <a:lnTo>
                      <a:pt x="360934" y="294994"/>
                    </a:lnTo>
                    <a:cubicBezTo>
                      <a:pt x="352017" y="307734"/>
                      <a:pt x="344758" y="309973"/>
                      <a:pt x="332868" y="309973"/>
                    </a:cubicBezTo>
                    <a:close/>
                  </a:path>
                </a:pathLst>
              </a:custGeom>
              <a:grpFill/>
              <a:ln w="3861"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C1E191FA-A32C-C151-2EA5-5353EFD3CEED}"/>
                  </a:ext>
                </a:extLst>
              </p:cNvPr>
              <p:cNvSpPr/>
              <p:nvPr/>
            </p:nvSpPr>
            <p:spPr>
              <a:xfrm>
                <a:off x="10097199" y="7230782"/>
                <a:ext cx="264340" cy="313756"/>
              </a:xfrm>
              <a:custGeom>
                <a:avLst/>
                <a:gdLst>
                  <a:gd name="connsiteX0" fmla="*/ 177900 w 264340"/>
                  <a:gd name="connsiteY0" fmla="*/ 313757 h 313756"/>
                  <a:gd name="connsiteX1" fmla="*/ 85244 w 264340"/>
                  <a:gd name="connsiteY1" fmla="*/ 313757 h 313756"/>
                  <a:gd name="connsiteX2" fmla="*/ 36098 w 264340"/>
                  <a:gd name="connsiteY2" fmla="*/ 295187 h 313756"/>
                  <a:gd name="connsiteX3" fmla="*/ 19806 w 264340"/>
                  <a:gd name="connsiteY3" fmla="*/ 278934 h 313756"/>
                  <a:gd name="connsiteX4" fmla="*/ 0 w 264340"/>
                  <a:gd name="connsiteY4" fmla="*/ 226621 h 313756"/>
                  <a:gd name="connsiteX5" fmla="*/ 0 w 264340"/>
                  <a:gd name="connsiteY5" fmla="*/ 87135 h 313756"/>
                  <a:gd name="connsiteX6" fmla="*/ 19806 w 264340"/>
                  <a:gd name="connsiteY6" fmla="*/ 34823 h 313756"/>
                  <a:gd name="connsiteX7" fmla="*/ 36098 w 264340"/>
                  <a:gd name="connsiteY7" fmla="*/ 18570 h 313756"/>
                  <a:gd name="connsiteX8" fmla="*/ 85244 w 264340"/>
                  <a:gd name="connsiteY8" fmla="*/ 0 h 313756"/>
                  <a:gd name="connsiteX9" fmla="*/ 179097 w 264340"/>
                  <a:gd name="connsiteY9" fmla="*/ 0 h 313756"/>
                  <a:gd name="connsiteX10" fmla="*/ 228243 w 264340"/>
                  <a:gd name="connsiteY10" fmla="*/ 18570 h 313756"/>
                  <a:gd name="connsiteX11" fmla="*/ 244535 w 264340"/>
                  <a:gd name="connsiteY11" fmla="*/ 34823 h 313756"/>
                  <a:gd name="connsiteX12" fmla="*/ 264341 w 264340"/>
                  <a:gd name="connsiteY12" fmla="*/ 87135 h 313756"/>
                  <a:gd name="connsiteX13" fmla="*/ 264341 w 264340"/>
                  <a:gd name="connsiteY13" fmla="*/ 155315 h 313756"/>
                  <a:gd name="connsiteX14" fmla="*/ 243493 w 264340"/>
                  <a:gd name="connsiteY14" fmla="*/ 177398 h 313756"/>
                  <a:gd name="connsiteX15" fmla="*/ 46058 w 264340"/>
                  <a:gd name="connsiteY15" fmla="*/ 177398 h 313756"/>
                  <a:gd name="connsiteX16" fmla="*/ 46058 w 264340"/>
                  <a:gd name="connsiteY16" fmla="*/ 229131 h 313756"/>
                  <a:gd name="connsiteX17" fmla="*/ 55015 w 264340"/>
                  <a:gd name="connsiteY17" fmla="*/ 249361 h 313756"/>
                  <a:gd name="connsiteX18" fmla="*/ 69415 w 264340"/>
                  <a:gd name="connsiteY18" fmla="*/ 263761 h 313756"/>
                  <a:gd name="connsiteX19" fmla="*/ 91499 w 264340"/>
                  <a:gd name="connsiteY19" fmla="*/ 272062 h 313756"/>
                  <a:gd name="connsiteX20" fmla="*/ 175314 w 264340"/>
                  <a:gd name="connsiteY20" fmla="*/ 272062 h 313756"/>
                  <a:gd name="connsiteX21" fmla="*/ 201644 w 264340"/>
                  <a:gd name="connsiteY21" fmla="*/ 267197 h 313756"/>
                  <a:gd name="connsiteX22" fmla="*/ 241562 w 264340"/>
                  <a:gd name="connsiteY22" fmla="*/ 247894 h 313756"/>
                  <a:gd name="connsiteX23" fmla="*/ 260480 w 264340"/>
                  <a:gd name="connsiteY23" fmla="*/ 280323 h 313756"/>
                  <a:gd name="connsiteX24" fmla="*/ 224228 w 264340"/>
                  <a:gd name="connsiteY24" fmla="*/ 302329 h 313756"/>
                  <a:gd name="connsiteX25" fmla="*/ 177900 w 264340"/>
                  <a:gd name="connsiteY25" fmla="*/ 313757 h 313756"/>
                  <a:gd name="connsiteX26" fmla="*/ 46136 w 264340"/>
                  <a:gd name="connsiteY26" fmla="*/ 137131 h 313756"/>
                  <a:gd name="connsiteX27" fmla="*/ 218978 w 264340"/>
                  <a:gd name="connsiteY27" fmla="*/ 137131 h 313756"/>
                  <a:gd name="connsiteX28" fmla="*/ 218978 w 264340"/>
                  <a:gd name="connsiteY28" fmla="*/ 84008 h 313756"/>
                  <a:gd name="connsiteX29" fmla="*/ 209403 w 264340"/>
                  <a:gd name="connsiteY29" fmla="*/ 63778 h 313756"/>
                  <a:gd name="connsiteX30" fmla="*/ 195003 w 264340"/>
                  <a:gd name="connsiteY30" fmla="*/ 49378 h 313756"/>
                  <a:gd name="connsiteX31" fmla="*/ 172881 w 264340"/>
                  <a:gd name="connsiteY31" fmla="*/ 41077 h 313756"/>
                  <a:gd name="connsiteX32" fmla="*/ 91576 w 264340"/>
                  <a:gd name="connsiteY32" fmla="*/ 41077 h 313756"/>
                  <a:gd name="connsiteX33" fmla="*/ 69415 w 264340"/>
                  <a:gd name="connsiteY33" fmla="*/ 49417 h 313756"/>
                  <a:gd name="connsiteX34" fmla="*/ 55092 w 264340"/>
                  <a:gd name="connsiteY34" fmla="*/ 63778 h 313756"/>
                  <a:gd name="connsiteX35" fmla="*/ 46136 w 264340"/>
                  <a:gd name="connsiteY35" fmla="*/ 84008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4340" h="313756">
                    <a:moveTo>
                      <a:pt x="177900" y="313757"/>
                    </a:moveTo>
                    <a:lnTo>
                      <a:pt x="85244" y="313757"/>
                    </a:lnTo>
                    <a:cubicBezTo>
                      <a:pt x="61501" y="313757"/>
                      <a:pt x="50498" y="309587"/>
                      <a:pt x="36098" y="295187"/>
                    </a:cubicBezTo>
                    <a:lnTo>
                      <a:pt x="19806" y="278934"/>
                    </a:lnTo>
                    <a:cubicBezTo>
                      <a:pt x="2587" y="261715"/>
                      <a:pt x="0" y="254882"/>
                      <a:pt x="0" y="226621"/>
                    </a:cubicBezTo>
                    <a:lnTo>
                      <a:pt x="0" y="87135"/>
                    </a:lnTo>
                    <a:cubicBezTo>
                      <a:pt x="0" y="58914"/>
                      <a:pt x="2587" y="52042"/>
                      <a:pt x="19806" y="34823"/>
                    </a:cubicBezTo>
                    <a:lnTo>
                      <a:pt x="36098" y="18570"/>
                    </a:lnTo>
                    <a:cubicBezTo>
                      <a:pt x="50459" y="4169"/>
                      <a:pt x="61501" y="0"/>
                      <a:pt x="85244" y="0"/>
                    </a:cubicBezTo>
                    <a:lnTo>
                      <a:pt x="179097" y="0"/>
                    </a:lnTo>
                    <a:cubicBezTo>
                      <a:pt x="202840" y="0"/>
                      <a:pt x="213843" y="4169"/>
                      <a:pt x="228243" y="18570"/>
                    </a:cubicBezTo>
                    <a:lnTo>
                      <a:pt x="244535" y="34823"/>
                    </a:lnTo>
                    <a:cubicBezTo>
                      <a:pt x="261754" y="52042"/>
                      <a:pt x="264341" y="58914"/>
                      <a:pt x="264341" y="87135"/>
                    </a:cubicBezTo>
                    <a:lnTo>
                      <a:pt x="264341" y="155315"/>
                    </a:lnTo>
                    <a:cubicBezTo>
                      <a:pt x="264341" y="169561"/>
                      <a:pt x="256928" y="177398"/>
                      <a:pt x="243493" y="177398"/>
                    </a:cubicBezTo>
                    <a:lnTo>
                      <a:pt x="46058" y="177398"/>
                    </a:lnTo>
                    <a:lnTo>
                      <a:pt x="46058" y="229131"/>
                    </a:lnTo>
                    <a:cubicBezTo>
                      <a:pt x="46058" y="238512"/>
                      <a:pt x="47564" y="241910"/>
                      <a:pt x="55015" y="249361"/>
                    </a:cubicBezTo>
                    <a:lnTo>
                      <a:pt x="69415" y="263761"/>
                    </a:lnTo>
                    <a:cubicBezTo>
                      <a:pt x="77136" y="271482"/>
                      <a:pt x="79298" y="272062"/>
                      <a:pt x="91499" y="272062"/>
                    </a:cubicBezTo>
                    <a:lnTo>
                      <a:pt x="175314" y="272062"/>
                    </a:lnTo>
                    <a:cubicBezTo>
                      <a:pt x="184345" y="272456"/>
                      <a:pt x="193349" y="270793"/>
                      <a:pt x="201644" y="267197"/>
                    </a:cubicBezTo>
                    <a:lnTo>
                      <a:pt x="241562" y="247894"/>
                    </a:lnTo>
                    <a:lnTo>
                      <a:pt x="260480" y="280323"/>
                    </a:lnTo>
                    <a:lnTo>
                      <a:pt x="224228" y="302329"/>
                    </a:lnTo>
                    <a:cubicBezTo>
                      <a:pt x="209403" y="311595"/>
                      <a:pt x="200716" y="313757"/>
                      <a:pt x="177900" y="313757"/>
                    </a:cubicBezTo>
                    <a:close/>
                    <a:moveTo>
                      <a:pt x="46136" y="137131"/>
                    </a:moveTo>
                    <a:lnTo>
                      <a:pt x="218978" y="137131"/>
                    </a:lnTo>
                    <a:lnTo>
                      <a:pt x="218978" y="84008"/>
                    </a:lnTo>
                    <a:cubicBezTo>
                      <a:pt x="218978" y="74704"/>
                      <a:pt x="216932" y="71307"/>
                      <a:pt x="209403" y="63778"/>
                    </a:cubicBezTo>
                    <a:lnTo>
                      <a:pt x="195003" y="49378"/>
                    </a:lnTo>
                    <a:cubicBezTo>
                      <a:pt x="187281" y="42236"/>
                      <a:pt x="185081" y="41077"/>
                      <a:pt x="172881" y="41077"/>
                    </a:cubicBezTo>
                    <a:lnTo>
                      <a:pt x="91576" y="41077"/>
                    </a:lnTo>
                    <a:cubicBezTo>
                      <a:pt x="79414" y="41077"/>
                      <a:pt x="77252" y="42236"/>
                      <a:pt x="69415" y="49417"/>
                    </a:cubicBezTo>
                    <a:lnTo>
                      <a:pt x="55092" y="63778"/>
                    </a:lnTo>
                    <a:cubicBezTo>
                      <a:pt x="47641" y="71229"/>
                      <a:pt x="46136" y="74627"/>
                      <a:pt x="46136" y="84008"/>
                    </a:cubicBezTo>
                    <a:close/>
                  </a:path>
                </a:pathLst>
              </a:custGeom>
              <a:grpFill/>
              <a:ln w="3861"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2E37DE33-1D14-DF1F-ADB6-E83DA2A99E38}"/>
                  </a:ext>
                </a:extLst>
              </p:cNvPr>
              <p:cNvSpPr/>
              <p:nvPr/>
            </p:nvSpPr>
            <p:spPr>
              <a:xfrm>
                <a:off x="10593372" y="7230782"/>
                <a:ext cx="250982" cy="313756"/>
              </a:xfrm>
              <a:custGeom>
                <a:avLst/>
                <a:gdLst>
                  <a:gd name="connsiteX0" fmla="*/ 168326 w 250982"/>
                  <a:gd name="connsiteY0" fmla="*/ 313757 h 313756"/>
                  <a:gd name="connsiteX1" fmla="*/ 85244 w 250982"/>
                  <a:gd name="connsiteY1" fmla="*/ 313757 h 313756"/>
                  <a:gd name="connsiteX2" fmla="*/ 36059 w 250982"/>
                  <a:gd name="connsiteY2" fmla="*/ 295187 h 313756"/>
                  <a:gd name="connsiteX3" fmla="*/ 19806 w 250982"/>
                  <a:gd name="connsiteY3" fmla="*/ 278934 h 313756"/>
                  <a:gd name="connsiteX4" fmla="*/ 0 w 250982"/>
                  <a:gd name="connsiteY4" fmla="*/ 226621 h 313756"/>
                  <a:gd name="connsiteX5" fmla="*/ 0 w 250982"/>
                  <a:gd name="connsiteY5" fmla="*/ 87135 h 313756"/>
                  <a:gd name="connsiteX6" fmla="*/ 19806 w 250982"/>
                  <a:gd name="connsiteY6" fmla="*/ 34823 h 313756"/>
                  <a:gd name="connsiteX7" fmla="*/ 36059 w 250982"/>
                  <a:gd name="connsiteY7" fmla="*/ 18570 h 313756"/>
                  <a:gd name="connsiteX8" fmla="*/ 85244 w 250982"/>
                  <a:gd name="connsiteY8" fmla="*/ 0 h 313756"/>
                  <a:gd name="connsiteX9" fmla="*/ 164040 w 250982"/>
                  <a:gd name="connsiteY9" fmla="*/ 0 h 313756"/>
                  <a:gd name="connsiteX10" fmla="*/ 210368 w 250982"/>
                  <a:gd name="connsiteY10" fmla="*/ 11582 h 313756"/>
                  <a:gd name="connsiteX11" fmla="*/ 246620 w 250982"/>
                  <a:gd name="connsiteY11" fmla="*/ 32275 h 313756"/>
                  <a:gd name="connsiteX12" fmla="*/ 228437 w 250982"/>
                  <a:gd name="connsiteY12" fmla="*/ 66635 h 313756"/>
                  <a:gd name="connsiteX13" fmla="*/ 187784 w 250982"/>
                  <a:gd name="connsiteY13" fmla="*/ 47911 h 313756"/>
                  <a:gd name="connsiteX14" fmla="*/ 161492 w 250982"/>
                  <a:gd name="connsiteY14" fmla="*/ 43046 h 313756"/>
                  <a:gd name="connsiteX15" fmla="*/ 91460 w 250982"/>
                  <a:gd name="connsiteY15" fmla="*/ 43046 h 313756"/>
                  <a:gd name="connsiteX16" fmla="*/ 69300 w 250982"/>
                  <a:gd name="connsiteY16" fmla="*/ 51424 h 313756"/>
                  <a:gd name="connsiteX17" fmla="*/ 54976 w 250982"/>
                  <a:gd name="connsiteY17" fmla="*/ 65786 h 313756"/>
                  <a:gd name="connsiteX18" fmla="*/ 45981 w 250982"/>
                  <a:gd name="connsiteY18" fmla="*/ 86016 h 313756"/>
                  <a:gd name="connsiteX19" fmla="*/ 45981 w 250982"/>
                  <a:gd name="connsiteY19" fmla="*/ 227857 h 313756"/>
                  <a:gd name="connsiteX20" fmla="*/ 54937 w 250982"/>
                  <a:gd name="connsiteY20" fmla="*/ 248125 h 313756"/>
                  <a:gd name="connsiteX21" fmla="*/ 69338 w 250982"/>
                  <a:gd name="connsiteY21" fmla="*/ 262487 h 313756"/>
                  <a:gd name="connsiteX22" fmla="*/ 91460 w 250982"/>
                  <a:gd name="connsiteY22" fmla="*/ 270826 h 313756"/>
                  <a:gd name="connsiteX23" fmla="*/ 165893 w 250982"/>
                  <a:gd name="connsiteY23" fmla="*/ 270826 h 313756"/>
                  <a:gd name="connsiteX24" fmla="*/ 192223 w 250982"/>
                  <a:gd name="connsiteY24" fmla="*/ 265923 h 313756"/>
                  <a:gd name="connsiteX25" fmla="*/ 232799 w 250982"/>
                  <a:gd name="connsiteY25" fmla="*/ 246620 h 313756"/>
                  <a:gd name="connsiteX26" fmla="*/ 250982 w 250982"/>
                  <a:gd name="connsiteY26" fmla="*/ 280285 h 313756"/>
                  <a:gd name="connsiteX27" fmla="*/ 214808 w 250982"/>
                  <a:gd name="connsiteY27" fmla="*/ 302291 h 313756"/>
                  <a:gd name="connsiteX28" fmla="*/ 168326 w 250982"/>
                  <a:gd name="connsiteY28" fmla="*/ 313757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0982" h="313756">
                    <a:moveTo>
                      <a:pt x="168326" y="313757"/>
                    </a:moveTo>
                    <a:lnTo>
                      <a:pt x="85244" y="313757"/>
                    </a:lnTo>
                    <a:cubicBezTo>
                      <a:pt x="61501" y="313757"/>
                      <a:pt x="50498" y="309587"/>
                      <a:pt x="36059" y="295187"/>
                    </a:cubicBezTo>
                    <a:lnTo>
                      <a:pt x="19806" y="278934"/>
                    </a:lnTo>
                    <a:cubicBezTo>
                      <a:pt x="2587" y="261715"/>
                      <a:pt x="0" y="254882"/>
                      <a:pt x="0" y="226621"/>
                    </a:cubicBezTo>
                    <a:lnTo>
                      <a:pt x="0" y="87135"/>
                    </a:lnTo>
                    <a:cubicBezTo>
                      <a:pt x="0" y="58914"/>
                      <a:pt x="2587" y="52042"/>
                      <a:pt x="19806" y="34823"/>
                    </a:cubicBezTo>
                    <a:lnTo>
                      <a:pt x="36059" y="18570"/>
                    </a:lnTo>
                    <a:cubicBezTo>
                      <a:pt x="50459" y="4169"/>
                      <a:pt x="61501" y="0"/>
                      <a:pt x="85244" y="0"/>
                    </a:cubicBezTo>
                    <a:lnTo>
                      <a:pt x="164040" y="0"/>
                    </a:lnTo>
                    <a:cubicBezTo>
                      <a:pt x="186393" y="0"/>
                      <a:pt x="194925" y="2741"/>
                      <a:pt x="210368" y="11582"/>
                    </a:cubicBezTo>
                    <a:lnTo>
                      <a:pt x="246620" y="32275"/>
                    </a:lnTo>
                    <a:lnTo>
                      <a:pt x="228437" y="66635"/>
                    </a:lnTo>
                    <a:lnTo>
                      <a:pt x="187784" y="47911"/>
                    </a:lnTo>
                    <a:cubicBezTo>
                      <a:pt x="179505" y="44305"/>
                      <a:pt x="170512" y="42641"/>
                      <a:pt x="161492" y="43046"/>
                    </a:cubicBezTo>
                    <a:lnTo>
                      <a:pt x="91460" y="43046"/>
                    </a:lnTo>
                    <a:cubicBezTo>
                      <a:pt x="79260" y="43046"/>
                      <a:pt x="77097" y="44205"/>
                      <a:pt x="69300" y="51424"/>
                    </a:cubicBezTo>
                    <a:lnTo>
                      <a:pt x="54976" y="65786"/>
                    </a:lnTo>
                    <a:cubicBezTo>
                      <a:pt x="47486" y="73237"/>
                      <a:pt x="45981" y="76634"/>
                      <a:pt x="45981" y="86016"/>
                    </a:cubicBezTo>
                    <a:lnTo>
                      <a:pt x="45981" y="227857"/>
                    </a:lnTo>
                    <a:cubicBezTo>
                      <a:pt x="45981" y="237238"/>
                      <a:pt x="47486" y="240674"/>
                      <a:pt x="54937" y="248125"/>
                    </a:cubicBezTo>
                    <a:lnTo>
                      <a:pt x="69338" y="262487"/>
                    </a:lnTo>
                    <a:cubicBezTo>
                      <a:pt x="77059" y="269668"/>
                      <a:pt x="79260" y="270826"/>
                      <a:pt x="91460" y="270826"/>
                    </a:cubicBezTo>
                    <a:lnTo>
                      <a:pt x="165893" y="270826"/>
                    </a:lnTo>
                    <a:cubicBezTo>
                      <a:pt x="174929" y="271228"/>
                      <a:pt x="183937" y="269551"/>
                      <a:pt x="192223" y="265923"/>
                    </a:cubicBezTo>
                    <a:lnTo>
                      <a:pt x="232799" y="246620"/>
                    </a:lnTo>
                    <a:lnTo>
                      <a:pt x="250982" y="280285"/>
                    </a:lnTo>
                    <a:lnTo>
                      <a:pt x="214808" y="302291"/>
                    </a:lnTo>
                    <a:cubicBezTo>
                      <a:pt x="199790" y="311595"/>
                      <a:pt x="191142" y="313757"/>
                      <a:pt x="168326" y="313757"/>
                    </a:cubicBezTo>
                    <a:close/>
                  </a:path>
                </a:pathLst>
              </a:custGeom>
              <a:grpFill/>
              <a:ln w="3861"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A0E1BC70-0E26-9DA5-7A9F-1DA9BB9B25BF}"/>
                  </a:ext>
                </a:extLst>
              </p:cNvPr>
              <p:cNvSpPr/>
              <p:nvPr/>
            </p:nvSpPr>
            <p:spPr>
              <a:xfrm>
                <a:off x="10904697" y="7230666"/>
                <a:ext cx="268624" cy="313946"/>
              </a:xfrm>
              <a:custGeom>
                <a:avLst/>
                <a:gdLst>
                  <a:gd name="connsiteX0" fmla="*/ 184077 w 268624"/>
                  <a:gd name="connsiteY0" fmla="*/ 313873 h 313946"/>
                  <a:gd name="connsiteX1" fmla="*/ 85243 w 268624"/>
                  <a:gd name="connsiteY1" fmla="*/ 313873 h 313946"/>
                  <a:gd name="connsiteX2" fmla="*/ 36097 w 268624"/>
                  <a:gd name="connsiteY2" fmla="*/ 295303 h 313946"/>
                  <a:gd name="connsiteX3" fmla="*/ 19805 w 268624"/>
                  <a:gd name="connsiteY3" fmla="*/ 279049 h 313946"/>
                  <a:gd name="connsiteX4" fmla="*/ 0 w 268624"/>
                  <a:gd name="connsiteY4" fmla="*/ 226737 h 313946"/>
                  <a:gd name="connsiteX5" fmla="*/ 0 w 268624"/>
                  <a:gd name="connsiteY5" fmla="*/ 203573 h 313946"/>
                  <a:gd name="connsiteX6" fmla="*/ 19805 w 268624"/>
                  <a:gd name="connsiteY6" fmla="*/ 151261 h 313946"/>
                  <a:gd name="connsiteX7" fmla="*/ 36058 w 268624"/>
                  <a:gd name="connsiteY7" fmla="*/ 135008 h 313946"/>
                  <a:gd name="connsiteX8" fmla="*/ 85243 w 268624"/>
                  <a:gd name="connsiteY8" fmla="*/ 116476 h 313946"/>
                  <a:gd name="connsiteX9" fmla="*/ 165313 w 268624"/>
                  <a:gd name="connsiteY9" fmla="*/ 116476 h 313946"/>
                  <a:gd name="connsiteX10" fmla="*/ 198245 w 268624"/>
                  <a:gd name="connsiteY10" fmla="*/ 120878 h 313946"/>
                  <a:gd name="connsiteX11" fmla="*/ 222645 w 268624"/>
                  <a:gd name="connsiteY11" fmla="*/ 127865 h 313946"/>
                  <a:gd name="connsiteX12" fmla="*/ 222645 w 268624"/>
                  <a:gd name="connsiteY12" fmla="*/ 84742 h 313946"/>
                  <a:gd name="connsiteX13" fmla="*/ 213688 w 268624"/>
                  <a:gd name="connsiteY13" fmla="*/ 64512 h 313946"/>
                  <a:gd name="connsiteX14" fmla="*/ 199326 w 268624"/>
                  <a:gd name="connsiteY14" fmla="*/ 50111 h 313946"/>
                  <a:gd name="connsiteX15" fmla="*/ 177204 w 268624"/>
                  <a:gd name="connsiteY15" fmla="*/ 41811 h 313946"/>
                  <a:gd name="connsiteX16" fmla="*/ 99644 w 268624"/>
                  <a:gd name="connsiteY16" fmla="*/ 41811 h 313946"/>
                  <a:gd name="connsiteX17" fmla="*/ 75244 w 268624"/>
                  <a:gd name="connsiteY17" fmla="*/ 46676 h 313946"/>
                  <a:gd name="connsiteX18" fmla="*/ 34013 w 268624"/>
                  <a:gd name="connsiteY18" fmla="*/ 66635 h 313946"/>
                  <a:gd name="connsiteX19" fmla="*/ 15134 w 268624"/>
                  <a:gd name="connsiteY19" fmla="*/ 33588 h 313946"/>
                  <a:gd name="connsiteX20" fmla="*/ 51347 w 268624"/>
                  <a:gd name="connsiteY20" fmla="*/ 11582 h 313946"/>
                  <a:gd name="connsiteX21" fmla="*/ 97675 w 268624"/>
                  <a:gd name="connsiteY21" fmla="*/ 0 h 313946"/>
                  <a:gd name="connsiteX22" fmla="*/ 183382 w 268624"/>
                  <a:gd name="connsiteY22" fmla="*/ 0 h 313946"/>
                  <a:gd name="connsiteX23" fmla="*/ 232567 w 268624"/>
                  <a:gd name="connsiteY23" fmla="*/ 18570 h 313946"/>
                  <a:gd name="connsiteX24" fmla="*/ 248820 w 268624"/>
                  <a:gd name="connsiteY24" fmla="*/ 34823 h 313946"/>
                  <a:gd name="connsiteX25" fmla="*/ 268625 w 268624"/>
                  <a:gd name="connsiteY25" fmla="*/ 87135 h 313946"/>
                  <a:gd name="connsiteX26" fmla="*/ 268625 w 268624"/>
                  <a:gd name="connsiteY26" fmla="*/ 268587 h 313946"/>
                  <a:gd name="connsiteX27" fmla="*/ 252102 w 268624"/>
                  <a:gd name="connsiteY27" fmla="*/ 294338 h 313946"/>
                  <a:gd name="connsiteX28" fmla="*/ 220830 w 268624"/>
                  <a:gd name="connsiteY28" fmla="*/ 306846 h 313946"/>
                  <a:gd name="connsiteX29" fmla="*/ 184077 w 268624"/>
                  <a:gd name="connsiteY29" fmla="*/ 313873 h 313946"/>
                  <a:gd name="connsiteX30" fmla="*/ 90880 w 268624"/>
                  <a:gd name="connsiteY30" fmla="*/ 158133 h 313946"/>
                  <a:gd name="connsiteX31" fmla="*/ 68759 w 268624"/>
                  <a:gd name="connsiteY31" fmla="*/ 166472 h 313946"/>
                  <a:gd name="connsiteX32" fmla="*/ 55015 w 268624"/>
                  <a:gd name="connsiteY32" fmla="*/ 180216 h 313946"/>
                  <a:gd name="connsiteX33" fmla="*/ 46058 w 268624"/>
                  <a:gd name="connsiteY33" fmla="*/ 200485 h 313946"/>
                  <a:gd name="connsiteX34" fmla="*/ 46058 w 268624"/>
                  <a:gd name="connsiteY34" fmla="*/ 229903 h 313946"/>
                  <a:gd name="connsiteX35" fmla="*/ 55015 w 268624"/>
                  <a:gd name="connsiteY35" fmla="*/ 250133 h 313946"/>
                  <a:gd name="connsiteX36" fmla="*/ 68759 w 268624"/>
                  <a:gd name="connsiteY36" fmla="*/ 263915 h 313946"/>
                  <a:gd name="connsiteX37" fmla="*/ 90880 w 268624"/>
                  <a:gd name="connsiteY37" fmla="*/ 272216 h 313946"/>
                  <a:gd name="connsiteX38" fmla="*/ 180332 w 268624"/>
                  <a:gd name="connsiteY38" fmla="*/ 272216 h 313946"/>
                  <a:gd name="connsiteX39" fmla="*/ 192956 w 268624"/>
                  <a:gd name="connsiteY39" fmla="*/ 269822 h 313946"/>
                  <a:gd name="connsiteX40" fmla="*/ 219981 w 268624"/>
                  <a:gd name="connsiteY40" fmla="*/ 259205 h 313946"/>
                  <a:gd name="connsiteX41" fmla="*/ 222799 w 268624"/>
                  <a:gd name="connsiteY41" fmla="*/ 254920 h 313946"/>
                  <a:gd name="connsiteX42" fmla="*/ 222799 w 268624"/>
                  <a:gd name="connsiteY42" fmla="*/ 175429 h 313946"/>
                  <a:gd name="connsiteX43" fmla="*/ 217626 w 268624"/>
                  <a:gd name="connsiteY43" fmla="*/ 169329 h 313946"/>
                  <a:gd name="connsiteX44" fmla="*/ 186355 w 268624"/>
                  <a:gd name="connsiteY44" fmla="*/ 160565 h 313946"/>
                  <a:gd name="connsiteX45" fmla="*/ 164233 w 268624"/>
                  <a:gd name="connsiteY45" fmla="*/ 158133 h 31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8624" h="313946">
                    <a:moveTo>
                      <a:pt x="184077" y="313873"/>
                    </a:moveTo>
                    <a:lnTo>
                      <a:pt x="85243" y="313873"/>
                    </a:lnTo>
                    <a:cubicBezTo>
                      <a:pt x="61500" y="313873"/>
                      <a:pt x="50497" y="309703"/>
                      <a:pt x="36097" y="295303"/>
                    </a:cubicBezTo>
                    <a:lnTo>
                      <a:pt x="19805" y="279049"/>
                    </a:lnTo>
                    <a:cubicBezTo>
                      <a:pt x="2586" y="261831"/>
                      <a:pt x="0" y="254959"/>
                      <a:pt x="0" y="226737"/>
                    </a:cubicBezTo>
                    <a:lnTo>
                      <a:pt x="0" y="203573"/>
                    </a:lnTo>
                    <a:cubicBezTo>
                      <a:pt x="0" y="175352"/>
                      <a:pt x="2586" y="168518"/>
                      <a:pt x="19805" y="151261"/>
                    </a:cubicBezTo>
                    <a:lnTo>
                      <a:pt x="36058" y="135008"/>
                    </a:lnTo>
                    <a:cubicBezTo>
                      <a:pt x="50497" y="120607"/>
                      <a:pt x="61500" y="116476"/>
                      <a:pt x="85243" y="116476"/>
                    </a:cubicBezTo>
                    <a:lnTo>
                      <a:pt x="165313" y="116476"/>
                    </a:lnTo>
                    <a:cubicBezTo>
                      <a:pt x="176448" y="116316"/>
                      <a:pt x="187544" y="117799"/>
                      <a:pt x="198245" y="120878"/>
                    </a:cubicBezTo>
                    <a:lnTo>
                      <a:pt x="222645" y="127865"/>
                    </a:lnTo>
                    <a:lnTo>
                      <a:pt x="222645" y="84742"/>
                    </a:lnTo>
                    <a:cubicBezTo>
                      <a:pt x="222645" y="75360"/>
                      <a:pt x="221139" y="71963"/>
                      <a:pt x="213688" y="64512"/>
                    </a:cubicBezTo>
                    <a:lnTo>
                      <a:pt x="199326" y="50111"/>
                    </a:lnTo>
                    <a:cubicBezTo>
                      <a:pt x="191605" y="42969"/>
                      <a:pt x="189405" y="41811"/>
                      <a:pt x="177204" y="41811"/>
                    </a:cubicBezTo>
                    <a:lnTo>
                      <a:pt x="99644" y="41811"/>
                    </a:lnTo>
                    <a:cubicBezTo>
                      <a:pt x="91230" y="41337"/>
                      <a:pt x="82834" y="43011"/>
                      <a:pt x="75244" y="46676"/>
                    </a:cubicBezTo>
                    <a:lnTo>
                      <a:pt x="34013" y="66635"/>
                    </a:lnTo>
                    <a:lnTo>
                      <a:pt x="15134" y="33588"/>
                    </a:lnTo>
                    <a:lnTo>
                      <a:pt x="51347" y="11582"/>
                    </a:lnTo>
                    <a:cubicBezTo>
                      <a:pt x="66287" y="2278"/>
                      <a:pt x="74935" y="0"/>
                      <a:pt x="97675" y="0"/>
                    </a:cubicBezTo>
                    <a:lnTo>
                      <a:pt x="183382" y="0"/>
                    </a:lnTo>
                    <a:cubicBezTo>
                      <a:pt x="207125" y="0"/>
                      <a:pt x="218128" y="4169"/>
                      <a:pt x="232567" y="18570"/>
                    </a:cubicBezTo>
                    <a:lnTo>
                      <a:pt x="248820" y="34823"/>
                    </a:lnTo>
                    <a:cubicBezTo>
                      <a:pt x="266039" y="52042"/>
                      <a:pt x="268625" y="58914"/>
                      <a:pt x="268625" y="87135"/>
                    </a:cubicBezTo>
                    <a:lnTo>
                      <a:pt x="268625" y="268587"/>
                    </a:lnTo>
                    <a:cubicBezTo>
                      <a:pt x="268625" y="281945"/>
                      <a:pt x="263838" y="289396"/>
                      <a:pt x="252102" y="294338"/>
                    </a:cubicBezTo>
                    <a:lnTo>
                      <a:pt x="220830" y="306846"/>
                    </a:lnTo>
                    <a:cubicBezTo>
                      <a:pt x="209290" y="312006"/>
                      <a:pt x="196707" y="314411"/>
                      <a:pt x="184077" y="313873"/>
                    </a:cubicBezTo>
                    <a:close/>
                    <a:moveTo>
                      <a:pt x="90880" y="158133"/>
                    </a:moveTo>
                    <a:cubicBezTo>
                      <a:pt x="80032" y="158133"/>
                      <a:pt x="76055" y="159175"/>
                      <a:pt x="68759" y="166472"/>
                    </a:cubicBezTo>
                    <a:lnTo>
                      <a:pt x="55015" y="180216"/>
                    </a:lnTo>
                    <a:cubicBezTo>
                      <a:pt x="47563" y="187667"/>
                      <a:pt x="46058" y="191065"/>
                      <a:pt x="46058" y="200485"/>
                    </a:cubicBezTo>
                    <a:lnTo>
                      <a:pt x="46058" y="229903"/>
                    </a:lnTo>
                    <a:cubicBezTo>
                      <a:pt x="46058" y="239284"/>
                      <a:pt x="47563" y="242682"/>
                      <a:pt x="55015" y="250133"/>
                    </a:cubicBezTo>
                    <a:lnTo>
                      <a:pt x="68759" y="263915"/>
                    </a:lnTo>
                    <a:cubicBezTo>
                      <a:pt x="76480" y="271058"/>
                      <a:pt x="78680" y="272216"/>
                      <a:pt x="90880" y="272216"/>
                    </a:cubicBezTo>
                    <a:lnTo>
                      <a:pt x="180332" y="272216"/>
                    </a:lnTo>
                    <a:cubicBezTo>
                      <a:pt x="184661" y="272304"/>
                      <a:pt x="188960" y="271489"/>
                      <a:pt x="192956" y="269822"/>
                    </a:cubicBezTo>
                    <a:lnTo>
                      <a:pt x="219981" y="259205"/>
                    </a:lnTo>
                    <a:cubicBezTo>
                      <a:pt x="222567" y="258163"/>
                      <a:pt x="222799" y="257468"/>
                      <a:pt x="222799" y="254920"/>
                    </a:cubicBezTo>
                    <a:lnTo>
                      <a:pt x="222799" y="175429"/>
                    </a:lnTo>
                    <a:cubicBezTo>
                      <a:pt x="222799" y="171375"/>
                      <a:pt x="221718" y="170487"/>
                      <a:pt x="217626" y="169329"/>
                    </a:cubicBezTo>
                    <a:lnTo>
                      <a:pt x="186355" y="160565"/>
                    </a:lnTo>
                    <a:cubicBezTo>
                      <a:pt x="179122" y="158777"/>
                      <a:pt x="171682" y="157959"/>
                      <a:pt x="164233" y="158133"/>
                    </a:cubicBezTo>
                    <a:close/>
                  </a:path>
                </a:pathLst>
              </a:custGeom>
              <a:grpFill/>
              <a:ln w="3861"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C29F28F0-848D-53E1-B7FA-227719323387}"/>
                  </a:ext>
                </a:extLst>
              </p:cNvPr>
              <p:cNvSpPr/>
              <p:nvPr/>
            </p:nvSpPr>
            <p:spPr>
              <a:xfrm>
                <a:off x="11252427" y="7230782"/>
                <a:ext cx="165507" cy="310011"/>
              </a:xfrm>
              <a:custGeom>
                <a:avLst/>
                <a:gdLst>
                  <a:gd name="connsiteX0" fmla="*/ 46058 w 165507"/>
                  <a:gd name="connsiteY0" fmla="*/ 310012 h 310011"/>
                  <a:gd name="connsiteX1" fmla="*/ 0 w 165507"/>
                  <a:gd name="connsiteY1" fmla="*/ 310012 h 310011"/>
                  <a:gd name="connsiteX2" fmla="*/ 0 w 165507"/>
                  <a:gd name="connsiteY2" fmla="*/ 87135 h 310011"/>
                  <a:gd name="connsiteX3" fmla="*/ 19806 w 165507"/>
                  <a:gd name="connsiteY3" fmla="*/ 34823 h 310011"/>
                  <a:gd name="connsiteX4" fmla="*/ 36059 w 165507"/>
                  <a:gd name="connsiteY4" fmla="*/ 18570 h 310011"/>
                  <a:gd name="connsiteX5" fmla="*/ 85244 w 165507"/>
                  <a:gd name="connsiteY5" fmla="*/ 0 h 310011"/>
                  <a:gd name="connsiteX6" fmla="*/ 165507 w 165507"/>
                  <a:gd name="connsiteY6" fmla="*/ 0 h 310011"/>
                  <a:gd name="connsiteX7" fmla="*/ 165507 w 165507"/>
                  <a:gd name="connsiteY7" fmla="*/ 42931 h 310011"/>
                  <a:gd name="connsiteX8" fmla="*/ 91499 w 165507"/>
                  <a:gd name="connsiteY8" fmla="*/ 42931 h 310011"/>
                  <a:gd name="connsiteX9" fmla="*/ 69338 w 165507"/>
                  <a:gd name="connsiteY9" fmla="*/ 51308 h 310011"/>
                  <a:gd name="connsiteX10" fmla="*/ 55015 w 165507"/>
                  <a:gd name="connsiteY10" fmla="*/ 65670 h 310011"/>
                  <a:gd name="connsiteX11" fmla="*/ 46058 w 165507"/>
                  <a:gd name="connsiteY11" fmla="*/ 85900 h 31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507" h="310011">
                    <a:moveTo>
                      <a:pt x="46058" y="310012"/>
                    </a:moveTo>
                    <a:lnTo>
                      <a:pt x="0" y="310012"/>
                    </a:lnTo>
                    <a:lnTo>
                      <a:pt x="0" y="87135"/>
                    </a:lnTo>
                    <a:cubicBezTo>
                      <a:pt x="0" y="58914"/>
                      <a:pt x="2587" y="52042"/>
                      <a:pt x="19806" y="34823"/>
                    </a:cubicBezTo>
                    <a:lnTo>
                      <a:pt x="36059" y="18570"/>
                    </a:lnTo>
                    <a:cubicBezTo>
                      <a:pt x="50459" y="4169"/>
                      <a:pt x="61501" y="0"/>
                      <a:pt x="85244" y="0"/>
                    </a:cubicBezTo>
                    <a:lnTo>
                      <a:pt x="165507" y="0"/>
                    </a:lnTo>
                    <a:lnTo>
                      <a:pt x="165507" y="42931"/>
                    </a:lnTo>
                    <a:lnTo>
                      <a:pt x="91499" y="42931"/>
                    </a:lnTo>
                    <a:cubicBezTo>
                      <a:pt x="79298" y="42931"/>
                      <a:pt x="77176" y="44089"/>
                      <a:pt x="69338" y="51308"/>
                    </a:cubicBezTo>
                    <a:lnTo>
                      <a:pt x="55015" y="65670"/>
                    </a:lnTo>
                    <a:cubicBezTo>
                      <a:pt x="47564" y="73121"/>
                      <a:pt x="46058" y="76518"/>
                      <a:pt x="46058" y="85900"/>
                    </a:cubicBezTo>
                    <a:close/>
                  </a:path>
                </a:pathLst>
              </a:custGeom>
              <a:grpFill/>
              <a:ln w="3861"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644A9B81-F51C-E257-3EB9-AE2AADEBB156}"/>
                  </a:ext>
                </a:extLst>
              </p:cNvPr>
              <p:cNvSpPr/>
              <p:nvPr/>
            </p:nvSpPr>
            <p:spPr>
              <a:xfrm>
                <a:off x="11462449" y="7230782"/>
                <a:ext cx="264340" cy="313756"/>
              </a:xfrm>
              <a:custGeom>
                <a:avLst/>
                <a:gdLst>
                  <a:gd name="connsiteX0" fmla="*/ 177939 w 264340"/>
                  <a:gd name="connsiteY0" fmla="*/ 313757 h 313756"/>
                  <a:gd name="connsiteX1" fmla="*/ 85283 w 264340"/>
                  <a:gd name="connsiteY1" fmla="*/ 313757 h 313756"/>
                  <a:gd name="connsiteX2" fmla="*/ 36097 w 264340"/>
                  <a:gd name="connsiteY2" fmla="*/ 295187 h 313756"/>
                  <a:gd name="connsiteX3" fmla="*/ 19805 w 264340"/>
                  <a:gd name="connsiteY3" fmla="*/ 278934 h 313756"/>
                  <a:gd name="connsiteX4" fmla="*/ 0 w 264340"/>
                  <a:gd name="connsiteY4" fmla="*/ 226621 h 313756"/>
                  <a:gd name="connsiteX5" fmla="*/ 0 w 264340"/>
                  <a:gd name="connsiteY5" fmla="*/ 87135 h 313756"/>
                  <a:gd name="connsiteX6" fmla="*/ 19805 w 264340"/>
                  <a:gd name="connsiteY6" fmla="*/ 34823 h 313756"/>
                  <a:gd name="connsiteX7" fmla="*/ 36097 w 264340"/>
                  <a:gd name="connsiteY7" fmla="*/ 18570 h 313756"/>
                  <a:gd name="connsiteX8" fmla="*/ 85283 w 264340"/>
                  <a:gd name="connsiteY8" fmla="*/ 0 h 313756"/>
                  <a:gd name="connsiteX9" fmla="*/ 179096 w 264340"/>
                  <a:gd name="connsiteY9" fmla="*/ 0 h 313756"/>
                  <a:gd name="connsiteX10" fmla="*/ 228281 w 264340"/>
                  <a:gd name="connsiteY10" fmla="*/ 18570 h 313756"/>
                  <a:gd name="connsiteX11" fmla="*/ 244535 w 264340"/>
                  <a:gd name="connsiteY11" fmla="*/ 34823 h 313756"/>
                  <a:gd name="connsiteX12" fmla="*/ 264340 w 264340"/>
                  <a:gd name="connsiteY12" fmla="*/ 87135 h 313756"/>
                  <a:gd name="connsiteX13" fmla="*/ 264340 w 264340"/>
                  <a:gd name="connsiteY13" fmla="*/ 155315 h 313756"/>
                  <a:gd name="connsiteX14" fmla="*/ 243493 w 264340"/>
                  <a:gd name="connsiteY14" fmla="*/ 177398 h 313756"/>
                  <a:gd name="connsiteX15" fmla="*/ 46212 w 264340"/>
                  <a:gd name="connsiteY15" fmla="*/ 177398 h 313756"/>
                  <a:gd name="connsiteX16" fmla="*/ 46212 w 264340"/>
                  <a:gd name="connsiteY16" fmla="*/ 229131 h 313756"/>
                  <a:gd name="connsiteX17" fmla="*/ 55169 w 264340"/>
                  <a:gd name="connsiteY17" fmla="*/ 249361 h 313756"/>
                  <a:gd name="connsiteX18" fmla="*/ 69569 w 264340"/>
                  <a:gd name="connsiteY18" fmla="*/ 263761 h 313756"/>
                  <a:gd name="connsiteX19" fmla="*/ 91691 w 264340"/>
                  <a:gd name="connsiteY19" fmla="*/ 272062 h 313756"/>
                  <a:gd name="connsiteX20" fmla="*/ 175467 w 264340"/>
                  <a:gd name="connsiteY20" fmla="*/ 272062 h 313756"/>
                  <a:gd name="connsiteX21" fmla="*/ 201797 w 264340"/>
                  <a:gd name="connsiteY21" fmla="*/ 267197 h 313756"/>
                  <a:gd name="connsiteX22" fmla="*/ 241755 w 264340"/>
                  <a:gd name="connsiteY22" fmla="*/ 247894 h 313756"/>
                  <a:gd name="connsiteX23" fmla="*/ 260634 w 264340"/>
                  <a:gd name="connsiteY23" fmla="*/ 280323 h 313756"/>
                  <a:gd name="connsiteX24" fmla="*/ 224382 w 264340"/>
                  <a:gd name="connsiteY24" fmla="*/ 302329 h 313756"/>
                  <a:gd name="connsiteX25" fmla="*/ 177939 w 264340"/>
                  <a:gd name="connsiteY25" fmla="*/ 313757 h 313756"/>
                  <a:gd name="connsiteX26" fmla="*/ 46212 w 264340"/>
                  <a:gd name="connsiteY26" fmla="*/ 137131 h 313756"/>
                  <a:gd name="connsiteX27" fmla="*/ 219093 w 264340"/>
                  <a:gd name="connsiteY27" fmla="*/ 137131 h 313756"/>
                  <a:gd name="connsiteX28" fmla="*/ 219093 w 264340"/>
                  <a:gd name="connsiteY28" fmla="*/ 84008 h 313756"/>
                  <a:gd name="connsiteX29" fmla="*/ 209480 w 264340"/>
                  <a:gd name="connsiteY29" fmla="*/ 63778 h 313756"/>
                  <a:gd name="connsiteX30" fmla="*/ 195118 w 264340"/>
                  <a:gd name="connsiteY30" fmla="*/ 49378 h 313756"/>
                  <a:gd name="connsiteX31" fmla="*/ 172997 w 264340"/>
                  <a:gd name="connsiteY31" fmla="*/ 41077 h 313756"/>
                  <a:gd name="connsiteX32" fmla="*/ 91691 w 264340"/>
                  <a:gd name="connsiteY32" fmla="*/ 41077 h 313756"/>
                  <a:gd name="connsiteX33" fmla="*/ 69531 w 264340"/>
                  <a:gd name="connsiteY33" fmla="*/ 49417 h 313756"/>
                  <a:gd name="connsiteX34" fmla="*/ 55169 w 264340"/>
                  <a:gd name="connsiteY34" fmla="*/ 63778 h 313756"/>
                  <a:gd name="connsiteX35" fmla="*/ 46212 w 264340"/>
                  <a:gd name="connsiteY35" fmla="*/ 84008 h 3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64340" h="313756">
                    <a:moveTo>
                      <a:pt x="177939" y="313757"/>
                    </a:moveTo>
                    <a:lnTo>
                      <a:pt x="85283" y="313757"/>
                    </a:lnTo>
                    <a:cubicBezTo>
                      <a:pt x="61500" y="313757"/>
                      <a:pt x="50537" y="309587"/>
                      <a:pt x="36097" y="295187"/>
                    </a:cubicBezTo>
                    <a:lnTo>
                      <a:pt x="19805" y="278934"/>
                    </a:lnTo>
                    <a:cubicBezTo>
                      <a:pt x="2625" y="261715"/>
                      <a:pt x="0" y="254882"/>
                      <a:pt x="0" y="226621"/>
                    </a:cubicBezTo>
                    <a:lnTo>
                      <a:pt x="0" y="87135"/>
                    </a:lnTo>
                    <a:cubicBezTo>
                      <a:pt x="0" y="58914"/>
                      <a:pt x="2625" y="52042"/>
                      <a:pt x="19805" y="34823"/>
                    </a:cubicBezTo>
                    <a:lnTo>
                      <a:pt x="36097" y="18570"/>
                    </a:lnTo>
                    <a:cubicBezTo>
                      <a:pt x="50498" y="4169"/>
                      <a:pt x="61500" y="0"/>
                      <a:pt x="85283" y="0"/>
                    </a:cubicBezTo>
                    <a:lnTo>
                      <a:pt x="179096" y="0"/>
                    </a:lnTo>
                    <a:cubicBezTo>
                      <a:pt x="202840" y="0"/>
                      <a:pt x="213842" y="4169"/>
                      <a:pt x="228281" y="18570"/>
                    </a:cubicBezTo>
                    <a:lnTo>
                      <a:pt x="244535" y="34823"/>
                    </a:lnTo>
                    <a:cubicBezTo>
                      <a:pt x="261754" y="52042"/>
                      <a:pt x="264340" y="58914"/>
                      <a:pt x="264340" y="87135"/>
                    </a:cubicBezTo>
                    <a:lnTo>
                      <a:pt x="264340" y="155315"/>
                    </a:lnTo>
                    <a:cubicBezTo>
                      <a:pt x="264340" y="169561"/>
                      <a:pt x="256928" y="177398"/>
                      <a:pt x="243493" y="177398"/>
                    </a:cubicBezTo>
                    <a:lnTo>
                      <a:pt x="46212" y="177398"/>
                    </a:lnTo>
                    <a:lnTo>
                      <a:pt x="46212" y="229131"/>
                    </a:lnTo>
                    <a:cubicBezTo>
                      <a:pt x="46212" y="238512"/>
                      <a:pt x="47717" y="241910"/>
                      <a:pt x="55169" y="249361"/>
                    </a:cubicBezTo>
                    <a:lnTo>
                      <a:pt x="69569" y="263761"/>
                    </a:lnTo>
                    <a:cubicBezTo>
                      <a:pt x="77291" y="271482"/>
                      <a:pt x="79453" y="272062"/>
                      <a:pt x="91691" y="272062"/>
                    </a:cubicBezTo>
                    <a:lnTo>
                      <a:pt x="175467" y="272062"/>
                    </a:lnTo>
                    <a:cubicBezTo>
                      <a:pt x="184500" y="272459"/>
                      <a:pt x="193503" y="270796"/>
                      <a:pt x="201797" y="267197"/>
                    </a:cubicBezTo>
                    <a:lnTo>
                      <a:pt x="241755" y="247894"/>
                    </a:lnTo>
                    <a:lnTo>
                      <a:pt x="260634" y="280323"/>
                    </a:lnTo>
                    <a:lnTo>
                      <a:pt x="224382" y="302329"/>
                    </a:lnTo>
                    <a:cubicBezTo>
                      <a:pt x="209441" y="311595"/>
                      <a:pt x="200639" y="313757"/>
                      <a:pt x="177939" y="313757"/>
                    </a:cubicBezTo>
                    <a:close/>
                    <a:moveTo>
                      <a:pt x="46212" y="137131"/>
                    </a:moveTo>
                    <a:lnTo>
                      <a:pt x="219093" y="137131"/>
                    </a:lnTo>
                    <a:lnTo>
                      <a:pt x="219093" y="84008"/>
                    </a:lnTo>
                    <a:cubicBezTo>
                      <a:pt x="219093" y="74704"/>
                      <a:pt x="217047" y="71307"/>
                      <a:pt x="209480" y="63778"/>
                    </a:cubicBezTo>
                    <a:lnTo>
                      <a:pt x="195118" y="49378"/>
                    </a:lnTo>
                    <a:cubicBezTo>
                      <a:pt x="187397" y="42236"/>
                      <a:pt x="185196" y="41077"/>
                      <a:pt x="172997" y="41077"/>
                    </a:cubicBezTo>
                    <a:lnTo>
                      <a:pt x="91691" y="41077"/>
                    </a:lnTo>
                    <a:cubicBezTo>
                      <a:pt x="79492" y="41077"/>
                      <a:pt x="77329" y="42236"/>
                      <a:pt x="69531" y="49417"/>
                    </a:cubicBezTo>
                    <a:lnTo>
                      <a:pt x="55169" y="63778"/>
                    </a:lnTo>
                    <a:cubicBezTo>
                      <a:pt x="47717" y="71229"/>
                      <a:pt x="46212" y="74627"/>
                      <a:pt x="46212" y="84008"/>
                    </a:cubicBezTo>
                    <a:close/>
                  </a:path>
                </a:pathLst>
              </a:custGeom>
              <a:grpFill/>
              <a:ln w="3861"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3EDAE547-754F-7680-4E67-A363D3FE099B}"/>
                  </a:ext>
                </a:extLst>
              </p:cNvPr>
              <p:cNvSpPr/>
              <p:nvPr/>
            </p:nvSpPr>
            <p:spPr>
              <a:xfrm>
                <a:off x="11799563" y="7480954"/>
                <a:ext cx="58682" cy="59840"/>
              </a:xfrm>
              <a:custGeom>
                <a:avLst/>
                <a:gdLst>
                  <a:gd name="connsiteX0" fmla="*/ 47216 w 58682"/>
                  <a:gd name="connsiteY0" fmla="*/ 59840 h 59840"/>
                  <a:gd name="connsiteX1" fmla="*/ 11582 w 58682"/>
                  <a:gd name="connsiteY1" fmla="*/ 59840 h 59840"/>
                  <a:gd name="connsiteX2" fmla="*/ 0 w 58682"/>
                  <a:gd name="connsiteY2" fmla="*/ 48992 h 59840"/>
                  <a:gd name="connsiteX3" fmla="*/ 0 w 58682"/>
                  <a:gd name="connsiteY3" fmla="*/ 0 h 59840"/>
                  <a:gd name="connsiteX4" fmla="*/ 47100 w 58682"/>
                  <a:gd name="connsiteY4" fmla="*/ 0 h 59840"/>
                  <a:gd name="connsiteX5" fmla="*/ 58682 w 58682"/>
                  <a:gd name="connsiteY5" fmla="*/ 10848 h 59840"/>
                  <a:gd name="connsiteX6" fmla="*/ 58682 w 58682"/>
                  <a:gd name="connsiteY6" fmla="*/ 49108 h 59840"/>
                  <a:gd name="connsiteX7" fmla="*/ 47216 w 58682"/>
                  <a:gd name="connsiteY7" fmla="*/ 59840 h 5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82" h="59840">
                    <a:moveTo>
                      <a:pt x="47216" y="59840"/>
                    </a:moveTo>
                    <a:lnTo>
                      <a:pt x="11582" y="59840"/>
                    </a:lnTo>
                    <a:cubicBezTo>
                      <a:pt x="3861" y="59840"/>
                      <a:pt x="0" y="56173"/>
                      <a:pt x="0" y="48992"/>
                    </a:cubicBezTo>
                    <a:lnTo>
                      <a:pt x="0" y="0"/>
                    </a:lnTo>
                    <a:lnTo>
                      <a:pt x="47100" y="0"/>
                    </a:lnTo>
                    <a:cubicBezTo>
                      <a:pt x="54821" y="0"/>
                      <a:pt x="58682" y="3861"/>
                      <a:pt x="58682" y="10848"/>
                    </a:cubicBezTo>
                    <a:lnTo>
                      <a:pt x="58682" y="49108"/>
                    </a:lnTo>
                    <a:cubicBezTo>
                      <a:pt x="58682" y="56173"/>
                      <a:pt x="54821" y="59840"/>
                      <a:pt x="47216" y="59840"/>
                    </a:cubicBezTo>
                    <a:close/>
                  </a:path>
                </a:pathLst>
              </a:custGeom>
              <a:grpFill/>
              <a:ln w="3861"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4071419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par>
                          <p:cTn id="7" fill="hold">
                            <p:stCondLst>
                              <p:cond delay="0"/>
                            </p:stCondLst>
                            <p:childTnLst>
                              <p:par>
                                <p:cTn id="8" presetID="35" presetClass="path" presetSubtype="0" accel="50000" decel="50000" fill="hold" nodeType="afterEffect">
                                  <p:stCondLst>
                                    <p:cond delay="0"/>
                                  </p:stCondLst>
                                  <p:childTnLst>
                                    <p:animMotion origin="layout" path="M -0.02695 0.00555 L -0.16979 -0.00278 " pathEditMode="relative" rAng="0" ptsTypes="AA">
                                      <p:cBhvr>
                                        <p:cTn id="9" dur="3000" fill="hold"/>
                                        <p:tgtEl>
                                          <p:spTgt spid="31"/>
                                        </p:tgtEl>
                                        <p:attrNameLst>
                                          <p:attrName>ppt_x</p:attrName>
                                          <p:attrName>ppt_y</p:attrName>
                                        </p:attrNameLst>
                                      </p:cBhvr>
                                      <p:rCtr x="-7148" y="-417"/>
                                    </p:animMotion>
                                  </p:childTnLst>
                                </p:cTn>
                              </p:par>
                              <p:par>
                                <p:cTn id="10" presetID="35" presetClass="path" presetSubtype="0" accel="50357" decel="49643" fill="hold" nodeType="withEffect">
                                  <p:stCondLst>
                                    <p:cond delay="200"/>
                                  </p:stCondLst>
                                  <p:childTnLst>
                                    <p:animMotion origin="layout" path="M -2.5E-6 -2.22222E-6 L -0.45156 -2.22222E-6 " pathEditMode="relative" rAng="0" ptsTypes="AA">
                                      <p:cBhvr>
                                        <p:cTn id="11" dur="2800" fill="hold"/>
                                        <p:tgtEl>
                                          <p:spTgt spid="130"/>
                                        </p:tgtEl>
                                        <p:attrNameLst>
                                          <p:attrName>ppt_x</p:attrName>
                                          <p:attrName>ppt_y</p:attrName>
                                        </p:attrNameLst>
                                      </p:cBhvr>
                                      <p:rCtr x="-22578" y="0"/>
                                    </p:animMotion>
                                  </p:childTnLst>
                                </p:cTn>
                              </p:par>
                              <p:par>
                                <p:cTn id="12" presetID="1" presetClass="entr" presetSubtype="0" fill="hold" grpId="0" nodeType="withEffect">
                                  <p:stCondLst>
                                    <p:cond delay="3000"/>
                                  </p:stCondLst>
                                  <p:childTnLst>
                                    <p:set>
                                      <p:cBhvr>
                                        <p:cTn id="13" dur="1" fill="hold">
                                          <p:stCondLst>
                                            <p:cond delay="0"/>
                                          </p:stCondLst>
                                        </p:cTn>
                                        <p:tgtEl>
                                          <p:spTgt spid="84"/>
                                        </p:tgtEl>
                                        <p:attrNameLst>
                                          <p:attrName>style.visibility</p:attrName>
                                        </p:attrNameLst>
                                      </p:cBhvr>
                                      <p:to>
                                        <p:strVal val="visible"/>
                                      </p:to>
                                    </p:set>
                                  </p:childTnLst>
                                </p:cTn>
                              </p:par>
                              <p:par>
                                <p:cTn id="14" presetID="1" presetClass="entr" presetSubtype="0" fill="hold" nodeType="withEffect">
                                  <p:stCondLst>
                                    <p:cond delay="3000"/>
                                  </p:stCondLst>
                                  <p:childTnLst>
                                    <p:set>
                                      <p:cBhvr>
                                        <p:cTn id="15" dur="1" fill="hold">
                                          <p:stCondLst>
                                            <p:cond delay="0"/>
                                          </p:stCondLst>
                                        </p:cTn>
                                        <p:tgtEl>
                                          <p:spTgt spid="57"/>
                                        </p:tgtEl>
                                        <p:attrNameLst>
                                          <p:attrName>style.visibility</p:attrName>
                                        </p:attrNameLst>
                                      </p:cBhvr>
                                      <p:to>
                                        <p:strVal val="visible"/>
                                      </p:to>
                                    </p:set>
                                  </p:childTnLst>
                                </p:cTn>
                              </p:par>
                              <p:par>
                                <p:cTn id="16" presetID="1" presetClass="exit" presetSubtype="0" fill="hold" nodeType="withEffect">
                                  <p:stCondLst>
                                    <p:cond delay="3000"/>
                                  </p:stCondLst>
                                  <p:childTnLst>
                                    <p:set>
                                      <p:cBhvr>
                                        <p:cTn id="17" dur="1" fill="hold">
                                          <p:stCondLst>
                                            <p:cond delay="0"/>
                                          </p:stCondLst>
                                        </p:cTn>
                                        <p:tgtEl>
                                          <p:spTgt spid="31"/>
                                        </p:tgtEl>
                                        <p:attrNameLst>
                                          <p:attrName>style.visibility</p:attrName>
                                        </p:attrNameLst>
                                      </p:cBhvr>
                                      <p:to>
                                        <p:strVal val="hidden"/>
                                      </p:to>
                                    </p:set>
                                  </p:childTnLst>
                                </p:cTn>
                              </p:par>
                              <p:par>
                                <p:cTn id="18" presetID="1" presetClass="exit" presetSubtype="0" fill="hold" nodeType="withEffect">
                                  <p:stCondLst>
                                    <p:cond delay="3000"/>
                                  </p:stCondLst>
                                  <p:childTnLst>
                                    <p:set>
                                      <p:cBhvr>
                                        <p:cTn id="19" dur="1" fill="hold">
                                          <p:stCondLst>
                                            <p:cond delay="0"/>
                                          </p:stCondLst>
                                        </p:cTn>
                                        <p:tgtEl>
                                          <p:spTgt spid="130"/>
                                        </p:tgtEl>
                                        <p:attrNameLst>
                                          <p:attrName>style.visibility</p:attrName>
                                        </p:attrNameLst>
                                      </p:cBhvr>
                                      <p:to>
                                        <p:strVal val="hidden"/>
                                      </p:to>
                                    </p:set>
                                  </p:childTnLst>
                                </p:cTn>
                              </p:par>
                              <p:par>
                                <p:cTn id="20" presetID="10" presetClass="entr" presetSubtype="0" fill="hold" grpId="0" nodeType="withEffect">
                                  <p:stCondLst>
                                    <p:cond delay="3000"/>
                                  </p:stCondLst>
                                  <p:iterate type="lt">
                                    <p:tmPct val="10000"/>
                                  </p:iterate>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84" grpId="0" animBg="1"/>
    </p:bldLst>
  </p:timing>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EL DIA">
    <p:spTree>
      <p:nvGrpSpPr>
        <p:cNvPr id="1" name=""/>
        <p:cNvGrpSpPr/>
        <p:nvPr/>
      </p:nvGrpSpPr>
      <p:grpSpPr>
        <a:xfrm>
          <a:off x="0" y="0"/>
          <a:ext cx="0" cy="0"/>
          <a:chOff x="0" y="0"/>
          <a:chExt cx="0" cy="0"/>
        </a:xfrm>
      </p:grpSpPr>
      <p:sp>
        <p:nvSpPr>
          <p:cNvPr id="66" name="Tijdelijke aanduiding voor afbeelding 53">
            <a:extLst>
              <a:ext uri="{FF2B5EF4-FFF2-40B4-BE49-F238E27FC236}">
                <a16:creationId xmlns:a16="http://schemas.microsoft.com/office/drawing/2014/main" id="{E1E8796E-B925-47B2-84A9-C238ECFCAD28}"/>
              </a:ext>
            </a:extLst>
          </p:cNvPr>
          <p:cNvSpPr>
            <a:spLocks noGrp="1"/>
          </p:cNvSpPr>
          <p:nvPr>
            <p:ph type="pic" sz="quarter" idx="55" hasCustomPrompt="1"/>
          </p:nvPr>
        </p:nvSpPr>
        <p:spPr>
          <a:xfrm>
            <a:off x="-5375" y="1434"/>
            <a:ext cx="12202750" cy="6856566"/>
          </a:xfrm>
          <a:prstGeom prst="rect">
            <a:avLst/>
          </a:pr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en-US"/>
              <a:t>click on the icon below </a:t>
            </a:r>
            <a:br>
              <a:rPr lang="en-US"/>
            </a:br>
            <a:r>
              <a:rPr lang="en-US"/>
              <a:t>to add an image.</a:t>
            </a:r>
          </a:p>
        </p:txBody>
      </p:sp>
      <p:sp>
        <p:nvSpPr>
          <p:cNvPr id="83" name="Tijdelijke aanduiding voor tekst 7">
            <a:extLst>
              <a:ext uri="{FF2B5EF4-FFF2-40B4-BE49-F238E27FC236}">
                <a16:creationId xmlns:a16="http://schemas.microsoft.com/office/drawing/2014/main" id="{8B2D7991-539C-4166-AB7A-D68CF1CAB111}"/>
              </a:ext>
            </a:extLst>
          </p:cNvPr>
          <p:cNvSpPr>
            <a:spLocks noGrp="1"/>
          </p:cNvSpPr>
          <p:nvPr>
            <p:ph type="body" sz="quarter" idx="22" hasCustomPrompt="1"/>
          </p:nvPr>
        </p:nvSpPr>
        <p:spPr>
          <a:xfrm>
            <a:off x="0" y="0"/>
            <a:ext cx="6096000" cy="6858000"/>
          </a:xfrm>
          <a:solidFill>
            <a:schemeClr val="accent1"/>
          </a:solidFill>
          <a:ln>
            <a:noFill/>
          </a:ln>
        </p:spPr>
        <p:txBody>
          <a:bodyPr tIns="360000" rIns="0"/>
          <a:lstStyle>
            <a:lvl1pPr marL="0" indent="0" algn="ctr">
              <a:buNone/>
              <a:defRPr sz="700">
                <a:solidFill>
                  <a:schemeClr val="bg1"/>
                </a:solidFill>
              </a:defRPr>
            </a:lvl1pPr>
          </a:lstStyle>
          <a:p>
            <a:pPr lvl="0"/>
            <a:r>
              <a:rPr lang="en-US"/>
              <a:t>Please do not delete this.</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565388" y="4521792"/>
            <a:ext cx="540000" cy="28800"/>
          </a:xfrm>
          <a:solidFill>
            <a:schemeClr val="bg1"/>
          </a:solidFill>
        </p:spPr>
        <p:txBody>
          <a:bodyPr anchor="ctr"/>
          <a:lstStyle>
            <a:lvl1pPr marL="0" indent="0" algn="ctr">
              <a:buNone/>
              <a:defRPr sz="300">
                <a:solidFill>
                  <a:schemeClr val="tx1">
                    <a:lumMod val="65000"/>
                    <a:lumOff val="35000"/>
                    <a:alpha val="0"/>
                  </a:schemeClr>
                </a:solidFill>
              </a:defRPr>
            </a:lvl1pPr>
          </a:lstStyle>
          <a:p>
            <a:pPr lvl="0"/>
            <a:r>
              <a:rPr lang="en-US"/>
              <a:t>(</a:t>
            </a:r>
            <a:r>
              <a:rPr lang="en-US" err="1"/>
              <a:t>Leeg</a:t>
            </a:r>
            <a:r>
              <a:rPr lang="en-US"/>
              <a:t>)</a:t>
            </a:r>
          </a:p>
        </p:txBody>
      </p:sp>
      <p:sp>
        <p:nvSpPr>
          <p:cNvPr id="86" name="Tijdelijke aanduiding voor tekst 7">
            <a:extLst>
              <a:ext uri="{FF2B5EF4-FFF2-40B4-BE49-F238E27FC236}">
                <a16:creationId xmlns:a16="http://schemas.microsoft.com/office/drawing/2014/main" id="{8E5272FF-E938-4719-ABB2-23012E4FC621}"/>
              </a:ext>
            </a:extLst>
          </p:cNvPr>
          <p:cNvSpPr>
            <a:spLocks noGrp="1"/>
          </p:cNvSpPr>
          <p:nvPr>
            <p:ph type="body" sz="quarter" idx="54" hasCustomPrompt="1"/>
          </p:nvPr>
        </p:nvSpPr>
        <p:spPr>
          <a:xfrm>
            <a:off x="0" y="0"/>
            <a:ext cx="524964" cy="6858000"/>
          </a:xfrm>
          <a:solidFill>
            <a:schemeClr val="accent1"/>
          </a:solidFill>
          <a:ln>
            <a:noFill/>
          </a:ln>
        </p:spPr>
        <p:txBody>
          <a:bodyPr tIns="360000" rIns="0"/>
          <a:lstStyle>
            <a:lvl1pPr marL="0" indent="0" algn="ctr">
              <a:buNone/>
              <a:defRPr sz="700">
                <a:solidFill>
                  <a:schemeClr val="bg1"/>
                </a:solidFill>
              </a:defRPr>
            </a:lvl1pPr>
          </a:lstStyle>
          <a:p>
            <a:pPr lvl="0"/>
            <a:r>
              <a:rPr lang="en-US"/>
              <a:t>Please do not delete this.</a:t>
            </a:r>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558162" y="3995728"/>
            <a:ext cx="5295861" cy="328039"/>
          </a:xfrm>
        </p:spPr>
        <p:txBody>
          <a:bodyPr anchor="b"/>
          <a:lstStyle>
            <a:lvl1pPr>
              <a:defRPr>
                <a:solidFill>
                  <a:schemeClr val="bg1"/>
                </a:solidFill>
              </a:defRPr>
            </a:lvl1pPr>
          </a:lstStyle>
          <a:p>
            <a:r>
              <a:rPr lang="en-US" noProof="0"/>
              <a:t>Title of the presentation</a:t>
            </a:r>
            <a:endParaRPr lang="en-US"/>
          </a:p>
        </p:txBody>
      </p:sp>
      <p:sp>
        <p:nvSpPr>
          <p:cNvPr id="65" name="Tijdelijke aanduiding voor verticale tekst 2">
            <a:extLst>
              <a:ext uri="{FF2B5EF4-FFF2-40B4-BE49-F238E27FC236}">
                <a16:creationId xmlns:a16="http://schemas.microsoft.com/office/drawing/2014/main" id="{7ED5F401-562D-4C4D-8829-2AC7A329CBA3}"/>
              </a:ext>
            </a:extLst>
          </p:cNvPr>
          <p:cNvSpPr>
            <a:spLocks noGrp="1"/>
          </p:cNvSpPr>
          <p:nvPr>
            <p:ph type="body" orient="vert" idx="23" hasCustomPrompt="1"/>
          </p:nvPr>
        </p:nvSpPr>
        <p:spPr>
          <a:xfrm>
            <a:off x="558162" y="3020640"/>
            <a:ext cx="3337890" cy="785666"/>
          </a:xfrm>
          <a:blipFill>
            <a:blip r:embed="rId2" cstate="email">
              <a:extLst>
                <a:ext uri="{28A0092B-C50C-407E-A947-70E740481C1C}">
                  <a14:useLocalDpi xmlns:a14="http://schemas.microsoft.com/office/drawing/2010/main"/>
                </a:ext>
              </a:extLst>
            </a:blip>
            <a:stretch>
              <a:fillRect/>
            </a:stretch>
          </a:blipFill>
        </p:spPr>
        <p:txBody>
          <a:bodyPr vert="horz" lIns="0" tIns="0" rIns="0" bIns="0"/>
          <a:lstStyle>
            <a:lvl1pPr marL="0" indent="0">
              <a:buFontTx/>
              <a:buNone/>
              <a:defRPr sz="1800" b="1"/>
            </a:lvl1pPr>
            <a:lvl2pPr>
              <a:defRPr/>
            </a:lvl2pPr>
            <a:lvl3pPr>
              <a:defRPr/>
            </a:lvl3pPr>
            <a:lvl4pPr>
              <a:defRPr/>
            </a:lvl4pPr>
            <a:lvl5pPr>
              <a:defRPr/>
            </a:lvl5pPr>
            <a:lvl6pPr>
              <a:defRPr/>
            </a:lvl6pPr>
            <a:lvl7pPr>
              <a:defRPr/>
            </a:lvl7pPr>
            <a:lvl8pPr>
              <a:defRPr/>
            </a:lvl8pPr>
            <a:lvl9pPr>
              <a:defRPr/>
            </a:lvl9pPr>
          </a:lstStyle>
          <a:p>
            <a:pPr lvl="0"/>
            <a:r>
              <a:rPr lang="en-US" noProof="0"/>
              <a:t>      </a:t>
            </a:r>
          </a:p>
        </p:txBody>
      </p:sp>
      <p:sp>
        <p:nvSpPr>
          <p:cNvPr id="123" name="Tijdelijke aanduiding voor afbeelding 40">
            <a:extLst>
              <a:ext uri="{FF2B5EF4-FFF2-40B4-BE49-F238E27FC236}">
                <a16:creationId xmlns:a16="http://schemas.microsoft.com/office/drawing/2014/main" id="{FA6F021D-38F7-42E1-8DE9-6490AC578D09}"/>
              </a:ext>
            </a:extLst>
          </p:cNvPr>
          <p:cNvSpPr>
            <a:spLocks noGrp="1"/>
          </p:cNvSpPr>
          <p:nvPr>
            <p:ph type="pic" sz="quarter" idx="14" hasCustomPrompt="1"/>
          </p:nvPr>
        </p:nvSpPr>
        <p:spPr>
          <a:xfrm>
            <a:off x="558161" y="4812202"/>
            <a:ext cx="2472421" cy="804759"/>
          </a:xfrm>
          <a:ln>
            <a:noFill/>
          </a:ln>
        </p:spPr>
        <p:txBody>
          <a:bodyPr bIns="432000" anchor="ctr"/>
          <a:lstStyle>
            <a:lvl1pPr marL="0" indent="0" algn="ctr">
              <a:lnSpc>
                <a:spcPct val="75000"/>
              </a:lnSpc>
              <a:spcBef>
                <a:spcPts val="100"/>
              </a:spcBef>
              <a:spcAft>
                <a:spcPts val="100"/>
              </a:spcAft>
              <a:buNone/>
              <a:defRPr sz="900" i="1">
                <a:solidFill>
                  <a:schemeClr val="bg1"/>
                </a:solidFill>
              </a:defRPr>
            </a:lvl1pPr>
          </a:lstStyle>
          <a:p>
            <a:r>
              <a:rPr lang="en-US"/>
              <a:t>Click on the icon below </a:t>
            </a:r>
            <a:br>
              <a:rPr lang="en-US"/>
            </a:br>
            <a:r>
              <a:rPr lang="en-US"/>
              <a:t>to add a client logo</a:t>
            </a:r>
          </a:p>
        </p:txBody>
      </p:sp>
      <p:sp>
        <p:nvSpPr>
          <p:cNvPr id="124" name="Tijdelijke aanduiding voor datum 1">
            <a:extLst>
              <a:ext uri="{FF2B5EF4-FFF2-40B4-BE49-F238E27FC236}">
                <a16:creationId xmlns:a16="http://schemas.microsoft.com/office/drawing/2014/main" id="{7247964D-1EB2-420D-A43D-E1EAC481DAA4}"/>
              </a:ext>
            </a:extLst>
          </p:cNvPr>
          <p:cNvSpPr>
            <a:spLocks noGrp="1"/>
          </p:cNvSpPr>
          <p:nvPr>
            <p:ph type="dt" sz="half" idx="2"/>
          </p:nvPr>
        </p:nvSpPr>
        <p:spPr>
          <a:xfrm>
            <a:off x="558162" y="6117143"/>
            <a:ext cx="1115186" cy="198000"/>
          </a:xfrm>
          <a:prstGeom prst="rect">
            <a:avLst/>
          </a:prstGeom>
        </p:spPr>
        <p:txBody>
          <a:bodyPr lIns="0" rIns="0" anchor="ctr"/>
          <a:lstStyle>
            <a:lvl1pPr algn="l">
              <a:defRPr sz="1050">
                <a:solidFill>
                  <a:schemeClr val="bg1"/>
                </a:solidFill>
              </a:defRPr>
            </a:lvl1pPr>
          </a:lstStyle>
          <a:p>
            <a:endParaRPr lang="en-US"/>
          </a:p>
        </p:txBody>
      </p:sp>
      <p:sp>
        <p:nvSpPr>
          <p:cNvPr id="125" name="Tijdelijke aanduiding voor tekst 412">
            <a:extLst>
              <a:ext uri="{FF2B5EF4-FFF2-40B4-BE49-F238E27FC236}">
                <a16:creationId xmlns:a16="http://schemas.microsoft.com/office/drawing/2014/main" id="{1F19FC5D-0DEC-422A-8CDB-6B3E77F00E00}"/>
              </a:ext>
            </a:extLst>
          </p:cNvPr>
          <p:cNvSpPr>
            <a:spLocks noGrp="1"/>
          </p:cNvSpPr>
          <p:nvPr>
            <p:ph type="body" sz="quarter" idx="53" hasCustomPrompt="1"/>
          </p:nvPr>
        </p:nvSpPr>
        <p:spPr>
          <a:xfrm>
            <a:off x="1684067" y="6117143"/>
            <a:ext cx="4169955" cy="198000"/>
          </a:xfrm>
        </p:spPr>
        <p:txBody>
          <a:bodyPr anchor="ctr"/>
          <a:lstStyle>
            <a:lvl1pPr marL="0" indent="0">
              <a:lnSpc>
                <a:spcPct val="80000"/>
              </a:lnSpc>
              <a:buNone/>
              <a:defRPr sz="1050" b="0">
                <a:solidFill>
                  <a:schemeClr val="bg1"/>
                </a:solidFill>
                <a:latin typeface="+mj-lt"/>
              </a:defRPr>
            </a:lvl1pPr>
          </a:lstStyle>
          <a:p>
            <a:pPr lvl="0"/>
            <a:r>
              <a:rPr lang="en-US"/>
              <a:t>Name</a:t>
            </a:r>
          </a:p>
        </p:txBody>
      </p:sp>
      <p:sp>
        <p:nvSpPr>
          <p:cNvPr id="62" name="Tijdelijke aanduiding voor tekst 66">
            <a:extLst>
              <a:ext uri="{FF2B5EF4-FFF2-40B4-BE49-F238E27FC236}">
                <a16:creationId xmlns:a16="http://schemas.microsoft.com/office/drawing/2014/main" id="{08CF6572-1475-40F8-9575-E9ADCDF9B3DA}"/>
              </a:ext>
            </a:extLst>
          </p:cNvPr>
          <p:cNvSpPr>
            <a:spLocks noGrp="1"/>
          </p:cNvSpPr>
          <p:nvPr>
            <p:ph type="body" sz="quarter" idx="71" hasCustomPrompt="1"/>
          </p:nvPr>
        </p:nvSpPr>
        <p:spPr>
          <a:xfrm rot="16200000">
            <a:off x="11708312" y="6368937"/>
            <a:ext cx="621760" cy="356366"/>
          </a:xfrm>
          <a:custGeom>
            <a:avLst/>
            <a:gdLst>
              <a:gd name="connsiteX0" fmla="*/ 621760 w 621760"/>
              <a:gd name="connsiteY0" fmla="*/ 356366 h 356366"/>
              <a:gd name="connsiteX1" fmla="*/ 0 w 621760"/>
              <a:gd name="connsiteY1" fmla="*/ 356366 h 356366"/>
              <a:gd name="connsiteX2" fmla="*/ 0 w 621760"/>
              <a:gd name="connsiteY2" fmla="*/ 0 h 356366"/>
            </a:gdLst>
            <a:ahLst/>
            <a:cxnLst>
              <a:cxn ang="0">
                <a:pos x="connsiteX0" y="connsiteY0"/>
              </a:cxn>
              <a:cxn ang="0">
                <a:pos x="connsiteX1" y="connsiteY1"/>
              </a:cxn>
              <a:cxn ang="0">
                <a:pos x="connsiteX2" y="connsiteY2"/>
              </a:cxn>
            </a:cxnLst>
            <a:rect l="l" t="t" r="r" b="b"/>
            <a:pathLst>
              <a:path w="621760" h="356366">
                <a:moveTo>
                  <a:pt x="621760" y="356366"/>
                </a:moveTo>
                <a:lnTo>
                  <a:pt x="0" y="356366"/>
                </a:lnTo>
                <a:lnTo>
                  <a:pt x="0" y="0"/>
                </a:lnTo>
                <a:close/>
              </a:path>
            </a:pathLst>
          </a:custGeom>
          <a:solidFill>
            <a:schemeClr val="accent1"/>
          </a:solidFill>
        </p:spPr>
        <p:txBody>
          <a:bodyPr wrap="square" anchor="ctr">
            <a:noAutofit/>
          </a:bodyPr>
          <a:lstStyle>
            <a:lvl1pPr marL="0" indent="0" algn="ctr">
              <a:buNone/>
              <a:defRPr sz="300">
                <a:solidFill>
                  <a:schemeClr val="tx1">
                    <a:lumMod val="65000"/>
                    <a:lumOff val="35000"/>
                    <a:alpha val="0"/>
                  </a:schemeClr>
                </a:solidFill>
              </a:defRPr>
            </a:lvl1pPr>
          </a:lstStyle>
          <a:p>
            <a:pPr lvl="0"/>
            <a:r>
              <a:rPr lang="en-US"/>
              <a:t>(Leeg)</a:t>
            </a:r>
          </a:p>
        </p:txBody>
      </p:sp>
    </p:spTree>
    <p:extLst>
      <p:ext uri="{BB962C8B-B14F-4D97-AF65-F5344CB8AC3E}">
        <p14:creationId xmlns:p14="http://schemas.microsoft.com/office/powerpoint/2010/main" val="38261052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0000" decel="50000" fill="hold" grpId="0" nodeType="withEffect">
                                  <p:stCondLst>
                                    <p:cond delay="0"/>
                                  </p:stCondLst>
                                  <p:childTnLst>
                                    <p:set>
                                      <p:cBhvr>
                                        <p:cTn id="6" dur="1" fill="hold">
                                          <p:stCondLst>
                                            <p:cond delay="0"/>
                                          </p:stCondLst>
                                        </p:cTn>
                                        <p:tgtEl>
                                          <p:spTgt spid="83"/>
                                        </p:tgtEl>
                                        <p:attrNameLst>
                                          <p:attrName>style.visibility</p:attrName>
                                        </p:attrNameLst>
                                      </p:cBhvr>
                                      <p:to>
                                        <p:strVal val="visible"/>
                                      </p:to>
                                    </p:set>
                                    <p:anim calcmode="lin" valueType="num">
                                      <p:cBhvr additive="base">
                                        <p:cTn id="7" dur="2000" fill="hold"/>
                                        <p:tgtEl>
                                          <p:spTgt spid="83"/>
                                        </p:tgtEl>
                                        <p:attrNameLst>
                                          <p:attrName>ppt_x</p:attrName>
                                        </p:attrNameLst>
                                      </p:cBhvr>
                                      <p:tavLst>
                                        <p:tav tm="0">
                                          <p:val>
                                            <p:strVal val="0-#ppt_w/2"/>
                                          </p:val>
                                        </p:tav>
                                        <p:tav tm="100000">
                                          <p:val>
                                            <p:strVal val="#ppt_x"/>
                                          </p:val>
                                        </p:tav>
                                      </p:tavLst>
                                    </p:anim>
                                    <p:anim calcmode="lin" valueType="num">
                                      <p:cBhvr additive="base">
                                        <p:cTn id="8" dur="2000" fill="hold"/>
                                        <p:tgtEl>
                                          <p:spTgt spid="83"/>
                                        </p:tgtEl>
                                        <p:attrNameLst>
                                          <p:attrName>ppt_y</p:attrName>
                                        </p:attrNameLst>
                                      </p:cBhvr>
                                      <p:tavLst>
                                        <p:tav tm="0">
                                          <p:val>
                                            <p:strVal val="#ppt_y"/>
                                          </p:val>
                                        </p:tav>
                                        <p:tav tm="100000">
                                          <p:val>
                                            <p:strVal val="#ppt_y"/>
                                          </p:val>
                                        </p:tav>
                                      </p:tavLst>
                                    </p:anim>
                                  </p:childTnLst>
                                </p:cTn>
                              </p:par>
                              <p:par>
                                <p:cTn id="9" presetID="2" presetClass="entr" presetSubtype="8" accel="50000" decel="50000" fill="hold" grpId="0" nodeType="withEffect">
                                  <p:stCondLst>
                                    <p:cond delay="0"/>
                                  </p:stCondLst>
                                  <p:childTnLst>
                                    <p:set>
                                      <p:cBhvr>
                                        <p:cTn id="10" dur="1" fill="hold">
                                          <p:stCondLst>
                                            <p:cond delay="0"/>
                                          </p:stCondLst>
                                        </p:cTn>
                                        <p:tgtEl>
                                          <p:spTgt spid="86"/>
                                        </p:tgtEl>
                                        <p:attrNameLst>
                                          <p:attrName>style.visibility</p:attrName>
                                        </p:attrNameLst>
                                      </p:cBhvr>
                                      <p:to>
                                        <p:strVal val="visible"/>
                                      </p:to>
                                    </p:set>
                                    <p:anim calcmode="lin" valueType="num">
                                      <p:cBhvr additive="base">
                                        <p:cTn id="11" dur="2000" fill="hold"/>
                                        <p:tgtEl>
                                          <p:spTgt spid="86"/>
                                        </p:tgtEl>
                                        <p:attrNameLst>
                                          <p:attrName>ppt_x</p:attrName>
                                        </p:attrNameLst>
                                      </p:cBhvr>
                                      <p:tavLst>
                                        <p:tav tm="0">
                                          <p:val>
                                            <p:strVal val="0-#ppt_w/2"/>
                                          </p:val>
                                        </p:tav>
                                        <p:tav tm="100000">
                                          <p:val>
                                            <p:strVal val="#ppt_x"/>
                                          </p:val>
                                        </p:tav>
                                      </p:tavLst>
                                    </p:anim>
                                    <p:anim calcmode="lin" valueType="num">
                                      <p:cBhvr additive="base">
                                        <p:cTn id="12" dur="2000" fill="hold"/>
                                        <p:tgtEl>
                                          <p:spTgt spid="86"/>
                                        </p:tgtEl>
                                        <p:attrNameLst>
                                          <p:attrName>ppt_y</p:attrName>
                                        </p:attrNameLst>
                                      </p:cBhvr>
                                      <p:tavLst>
                                        <p:tav tm="0">
                                          <p:val>
                                            <p:strVal val="#ppt_y"/>
                                          </p:val>
                                        </p:tav>
                                        <p:tav tm="100000">
                                          <p:val>
                                            <p:strVal val="#ppt_y"/>
                                          </p:val>
                                        </p:tav>
                                      </p:tavLst>
                                    </p:anim>
                                  </p:childTnLst>
                                </p:cTn>
                              </p:par>
                              <p:par>
                                <p:cTn id="13" presetID="2" presetClass="entr" presetSubtype="8" accel="50000" decel="50000"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500" fill="hold"/>
                                        <p:tgtEl>
                                          <p:spTgt spid="2"/>
                                        </p:tgtEl>
                                        <p:attrNameLst>
                                          <p:attrName>ppt_x</p:attrName>
                                        </p:attrNameLst>
                                      </p:cBhvr>
                                      <p:tavLst>
                                        <p:tav tm="0">
                                          <p:val>
                                            <p:strVal val="0-#ppt_w/2"/>
                                          </p:val>
                                        </p:tav>
                                        <p:tav tm="100000">
                                          <p:val>
                                            <p:strVal val="#ppt_x"/>
                                          </p:val>
                                        </p:tav>
                                      </p:tavLst>
                                    </p:anim>
                                    <p:anim calcmode="lin" valueType="num">
                                      <p:cBhvr additive="base">
                                        <p:cTn id="16" dur="1500" fill="hold"/>
                                        <p:tgtEl>
                                          <p:spTgt spid="2"/>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84"/>
                                        </p:tgtEl>
                                        <p:attrNameLst>
                                          <p:attrName>style.visibility</p:attrName>
                                        </p:attrNameLst>
                                      </p:cBhvr>
                                      <p:to>
                                        <p:strVal val="visible"/>
                                      </p:to>
                                    </p:set>
                                    <p:anim calcmode="lin" valueType="num">
                                      <p:cBhvr additive="base">
                                        <p:cTn id="19" dur="750" fill="hold"/>
                                        <p:tgtEl>
                                          <p:spTgt spid="84"/>
                                        </p:tgtEl>
                                        <p:attrNameLst>
                                          <p:attrName>ppt_x</p:attrName>
                                        </p:attrNameLst>
                                      </p:cBhvr>
                                      <p:tavLst>
                                        <p:tav tm="0">
                                          <p:val>
                                            <p:strVal val="0-#ppt_w/2"/>
                                          </p:val>
                                        </p:tav>
                                        <p:tav tm="100000">
                                          <p:val>
                                            <p:strVal val="#ppt_x"/>
                                          </p:val>
                                        </p:tav>
                                      </p:tavLst>
                                    </p:anim>
                                    <p:anim calcmode="lin" valueType="num">
                                      <p:cBhvr additive="base">
                                        <p:cTn id="20" dur="750" fill="hold"/>
                                        <p:tgtEl>
                                          <p:spTgt spid="84"/>
                                        </p:tgtEl>
                                        <p:attrNameLst>
                                          <p:attrName>ppt_y</p:attrName>
                                        </p:attrNameLst>
                                      </p:cBhvr>
                                      <p:tavLst>
                                        <p:tav tm="0">
                                          <p:val>
                                            <p:strVal val="#ppt_y"/>
                                          </p:val>
                                        </p:tav>
                                        <p:tav tm="100000">
                                          <p:val>
                                            <p:strVal val="#ppt_y"/>
                                          </p:val>
                                        </p:tav>
                                      </p:tavLst>
                                    </p:anim>
                                  </p:childTnLst>
                                </p:cTn>
                              </p:par>
                              <p:par>
                                <p:cTn id="21" presetID="2" presetClass="entr" presetSubtype="8" accel="50000" decel="50000" fill="hold" grpId="0" nodeType="withEffect">
                                  <p:stCondLst>
                                    <p:cond delay="500"/>
                                  </p:stCondLst>
                                  <p:childTnLst>
                                    <p:set>
                                      <p:cBhvr>
                                        <p:cTn id="22" dur="1" fill="hold">
                                          <p:stCondLst>
                                            <p:cond delay="0"/>
                                          </p:stCondLst>
                                        </p:cTn>
                                        <p:tgtEl>
                                          <p:spTgt spid="65"/>
                                        </p:tgtEl>
                                        <p:attrNameLst>
                                          <p:attrName>style.visibility</p:attrName>
                                        </p:attrNameLst>
                                      </p:cBhvr>
                                      <p:to>
                                        <p:strVal val="visible"/>
                                      </p:to>
                                    </p:set>
                                    <p:anim calcmode="lin" valueType="num">
                                      <p:cBhvr additive="base">
                                        <p:cTn id="23" dur="1500" fill="hold"/>
                                        <p:tgtEl>
                                          <p:spTgt spid="65"/>
                                        </p:tgtEl>
                                        <p:attrNameLst>
                                          <p:attrName>ppt_x</p:attrName>
                                        </p:attrNameLst>
                                      </p:cBhvr>
                                      <p:tavLst>
                                        <p:tav tm="0">
                                          <p:val>
                                            <p:strVal val="0-#ppt_w/2"/>
                                          </p:val>
                                        </p:tav>
                                        <p:tav tm="100000">
                                          <p:val>
                                            <p:strVal val="#ppt_x"/>
                                          </p:val>
                                        </p:tav>
                                      </p:tavLst>
                                    </p:anim>
                                    <p:anim calcmode="lin" valueType="num">
                                      <p:cBhvr additive="base">
                                        <p:cTn id="24" dur="1500" fill="hold"/>
                                        <p:tgtEl>
                                          <p:spTgt spid="65"/>
                                        </p:tgtEl>
                                        <p:attrNameLst>
                                          <p:attrName>ppt_y</p:attrName>
                                        </p:attrNameLst>
                                      </p:cBhvr>
                                      <p:tavLst>
                                        <p:tav tm="0">
                                          <p:val>
                                            <p:strVal val="#ppt_y"/>
                                          </p:val>
                                        </p:tav>
                                        <p:tav tm="100000">
                                          <p:val>
                                            <p:strVal val="#ppt_y"/>
                                          </p:val>
                                        </p:tav>
                                      </p:tavLst>
                                    </p:anim>
                                  </p:childTnLst>
                                </p:cTn>
                              </p:par>
                              <p:par>
                                <p:cTn id="25" presetID="63" presetClass="path" presetSubtype="0" accel="50000" decel="50000" fill="hold" grpId="0" nodeType="withEffect">
                                  <p:stCondLst>
                                    <p:cond delay="0"/>
                                  </p:stCondLst>
                                  <p:childTnLst>
                                    <p:animMotion origin="layout" path="M 0 0 L 0.25 0 " pathEditMode="relative" rAng="0" ptsTypes="AA">
                                      <p:cBhvr>
                                        <p:cTn id="26" dur="2000" fill="hold"/>
                                        <p:tgtEl>
                                          <p:spTgt spid="66"/>
                                        </p:tgtEl>
                                        <p:attrNameLst>
                                          <p:attrName>ppt_x</p:attrName>
                                          <p:attrName>ppt_y</p:attrName>
                                        </p:attrNameLst>
                                      </p:cBhvr>
                                      <p:rCtr x="12500" y="0"/>
                                    </p:animMotion>
                                  </p:childTnLst>
                                </p:cTn>
                              </p:par>
                              <p:par>
                                <p:cTn id="27" presetID="2" presetClass="entr" presetSubtype="8" accel="50000" decel="50000" fill="hold" grpId="0" nodeType="withEffect">
                                  <p:stCondLst>
                                    <p:cond delay="500"/>
                                  </p:stCondLst>
                                  <p:childTnLst>
                                    <p:set>
                                      <p:cBhvr>
                                        <p:cTn id="28" dur="1" fill="hold">
                                          <p:stCondLst>
                                            <p:cond delay="0"/>
                                          </p:stCondLst>
                                        </p:cTn>
                                        <p:tgtEl>
                                          <p:spTgt spid="123"/>
                                        </p:tgtEl>
                                        <p:attrNameLst>
                                          <p:attrName>style.visibility</p:attrName>
                                        </p:attrNameLst>
                                      </p:cBhvr>
                                      <p:to>
                                        <p:strVal val="visible"/>
                                      </p:to>
                                    </p:set>
                                    <p:anim calcmode="lin" valueType="num">
                                      <p:cBhvr additive="base">
                                        <p:cTn id="29" dur="1500" fill="hold"/>
                                        <p:tgtEl>
                                          <p:spTgt spid="123"/>
                                        </p:tgtEl>
                                        <p:attrNameLst>
                                          <p:attrName>ppt_x</p:attrName>
                                        </p:attrNameLst>
                                      </p:cBhvr>
                                      <p:tavLst>
                                        <p:tav tm="0">
                                          <p:val>
                                            <p:strVal val="0-#ppt_w/2"/>
                                          </p:val>
                                        </p:tav>
                                        <p:tav tm="100000">
                                          <p:val>
                                            <p:strVal val="#ppt_x"/>
                                          </p:val>
                                        </p:tav>
                                      </p:tavLst>
                                    </p:anim>
                                    <p:anim calcmode="lin" valueType="num">
                                      <p:cBhvr additive="base">
                                        <p:cTn id="30" dur="1500" fill="hold"/>
                                        <p:tgtEl>
                                          <p:spTgt spid="123"/>
                                        </p:tgtEl>
                                        <p:attrNameLst>
                                          <p:attrName>ppt_y</p:attrName>
                                        </p:attrNameLst>
                                      </p:cBhvr>
                                      <p:tavLst>
                                        <p:tav tm="0">
                                          <p:val>
                                            <p:strVal val="#ppt_y"/>
                                          </p:val>
                                        </p:tav>
                                        <p:tav tm="100000">
                                          <p:val>
                                            <p:strVal val="#ppt_y"/>
                                          </p:val>
                                        </p:tav>
                                      </p:tavLst>
                                    </p:anim>
                                  </p:childTnLst>
                                </p:cTn>
                              </p:par>
                              <p:par>
                                <p:cTn id="31" presetID="2" presetClass="entr" presetSubtype="8" decel="100000" fill="hold" grpId="0" nodeType="withEffect">
                                  <p:stCondLst>
                                    <p:cond delay="0"/>
                                  </p:stCondLst>
                                  <p:childTnLst>
                                    <p:set>
                                      <p:cBhvr>
                                        <p:cTn id="32" dur="1" fill="hold">
                                          <p:stCondLst>
                                            <p:cond delay="0"/>
                                          </p:stCondLst>
                                        </p:cTn>
                                        <p:tgtEl>
                                          <p:spTgt spid="125"/>
                                        </p:tgtEl>
                                        <p:attrNameLst>
                                          <p:attrName>style.visibility</p:attrName>
                                        </p:attrNameLst>
                                      </p:cBhvr>
                                      <p:to>
                                        <p:strVal val="visible"/>
                                      </p:to>
                                    </p:set>
                                    <p:anim calcmode="lin" valueType="num">
                                      <p:cBhvr additive="base">
                                        <p:cTn id="33" dur="2000" fill="hold"/>
                                        <p:tgtEl>
                                          <p:spTgt spid="125"/>
                                        </p:tgtEl>
                                        <p:attrNameLst>
                                          <p:attrName>ppt_x</p:attrName>
                                        </p:attrNameLst>
                                      </p:cBhvr>
                                      <p:tavLst>
                                        <p:tav tm="0">
                                          <p:val>
                                            <p:strVal val="0-#ppt_w/2"/>
                                          </p:val>
                                        </p:tav>
                                        <p:tav tm="100000">
                                          <p:val>
                                            <p:strVal val="#ppt_x"/>
                                          </p:val>
                                        </p:tav>
                                      </p:tavLst>
                                    </p:anim>
                                    <p:anim calcmode="lin" valueType="num">
                                      <p:cBhvr additive="base">
                                        <p:cTn id="34" dur="2000" fill="hold"/>
                                        <p:tgtEl>
                                          <p:spTgt spid="125"/>
                                        </p:tgtEl>
                                        <p:attrNameLst>
                                          <p:attrName>ppt_y</p:attrName>
                                        </p:attrNameLst>
                                      </p:cBhvr>
                                      <p:tavLst>
                                        <p:tav tm="0">
                                          <p:val>
                                            <p:strVal val="#ppt_y"/>
                                          </p:val>
                                        </p:tav>
                                        <p:tav tm="100000">
                                          <p:val>
                                            <p:strVal val="#ppt_y"/>
                                          </p:val>
                                        </p:tav>
                                      </p:tavLst>
                                    </p:anim>
                                  </p:childTnLst>
                                </p:cTn>
                              </p:par>
                              <p:par>
                                <p:cTn id="35" presetID="2" presetClass="entr" presetSubtype="8" decel="100000" fill="hold" grpId="0" nodeType="withEffect">
                                  <p:stCondLst>
                                    <p:cond delay="500"/>
                                  </p:stCondLst>
                                  <p:childTnLst>
                                    <p:set>
                                      <p:cBhvr>
                                        <p:cTn id="36" dur="1" fill="hold">
                                          <p:stCondLst>
                                            <p:cond delay="0"/>
                                          </p:stCondLst>
                                        </p:cTn>
                                        <p:tgtEl>
                                          <p:spTgt spid="124"/>
                                        </p:tgtEl>
                                        <p:attrNameLst>
                                          <p:attrName>style.visibility</p:attrName>
                                        </p:attrNameLst>
                                      </p:cBhvr>
                                      <p:to>
                                        <p:strVal val="visible"/>
                                      </p:to>
                                    </p:set>
                                    <p:anim calcmode="lin" valueType="num">
                                      <p:cBhvr additive="base">
                                        <p:cTn id="37" dur="1500" fill="hold"/>
                                        <p:tgtEl>
                                          <p:spTgt spid="124"/>
                                        </p:tgtEl>
                                        <p:attrNameLst>
                                          <p:attrName>ppt_x</p:attrName>
                                        </p:attrNameLst>
                                      </p:cBhvr>
                                      <p:tavLst>
                                        <p:tav tm="0">
                                          <p:val>
                                            <p:strVal val="0-#ppt_w/2"/>
                                          </p:val>
                                        </p:tav>
                                        <p:tav tm="100000">
                                          <p:val>
                                            <p:strVal val="#ppt_x"/>
                                          </p:val>
                                        </p:tav>
                                      </p:tavLst>
                                    </p:anim>
                                    <p:anim calcmode="lin" valueType="num">
                                      <p:cBhvr additive="base">
                                        <p:cTn id="38" dur="1500" fill="hold"/>
                                        <p:tgtEl>
                                          <p:spTgt spid="1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83" grpId="0" animBg="1">
        <p:tmplLst>
          <p:tmpl>
            <p:tnLst>
              <p:par>
                <p:cTn presetID="2" presetClass="entr" presetSubtype="8" accel="50000" decel="50000" fill="hold" nodeType="withEffect">
                  <p:stCondLst>
                    <p:cond delay="0"/>
                  </p:stCondLst>
                  <p:childTnLst>
                    <p:set>
                      <p:cBhvr>
                        <p:cTn dur="1" fill="hold">
                          <p:stCondLst>
                            <p:cond delay="0"/>
                          </p:stCondLst>
                        </p:cTn>
                        <p:tgtEl>
                          <p:spTgt spid="83"/>
                        </p:tgtEl>
                        <p:attrNameLst>
                          <p:attrName>style.visibility</p:attrName>
                        </p:attrNameLst>
                      </p:cBhvr>
                      <p:to>
                        <p:strVal val="visible"/>
                      </p:to>
                    </p:set>
                    <p:anim calcmode="lin" valueType="num">
                      <p:cBhvr additive="base">
                        <p:cTn dur="2000" fill="hold"/>
                        <p:tgtEl>
                          <p:spTgt spid="83"/>
                        </p:tgtEl>
                        <p:attrNameLst>
                          <p:attrName>ppt_x</p:attrName>
                        </p:attrNameLst>
                      </p:cBhvr>
                      <p:tavLst>
                        <p:tav tm="0">
                          <p:val>
                            <p:strVal val="0-#ppt_w/2"/>
                          </p:val>
                        </p:tav>
                        <p:tav tm="100000">
                          <p:val>
                            <p:strVal val="#ppt_x"/>
                          </p:val>
                        </p:tav>
                      </p:tavLst>
                    </p:anim>
                    <p:anim calcmode="lin" valueType="num">
                      <p:cBhvr additive="base">
                        <p:cTn dur="2000" fill="hold"/>
                        <p:tgtEl>
                          <p:spTgt spid="83"/>
                        </p:tgtEl>
                        <p:attrNameLst>
                          <p:attrName>ppt_y</p:attrName>
                        </p:attrNameLst>
                      </p:cBhvr>
                      <p:tavLst>
                        <p:tav tm="0">
                          <p:val>
                            <p:strVal val="#ppt_y"/>
                          </p:val>
                        </p:tav>
                        <p:tav tm="100000">
                          <p:val>
                            <p:strVal val="#ppt_y"/>
                          </p:val>
                        </p:tav>
                      </p:tavLst>
                    </p:anim>
                  </p:childTnLst>
                </p:cTn>
              </p:par>
            </p:tnLst>
          </p:tmpl>
        </p:tmplLst>
      </p:bldP>
      <p:bldP spid="84" grpId="0" animBg="1">
        <p:tmplLst>
          <p:tmpl>
            <p:tnLst>
              <p:par>
                <p:cTn presetID="2" presetClass="entr" presetSubtype="8" decel="100000" fill="hold" nodeType="withEffect">
                  <p:stCondLst>
                    <p:cond delay="1250"/>
                  </p:stCondLst>
                  <p:childTnLst>
                    <p:set>
                      <p:cBhvr>
                        <p:cTn dur="1" fill="hold">
                          <p:stCondLst>
                            <p:cond delay="0"/>
                          </p:stCondLst>
                        </p:cTn>
                        <p:tgtEl>
                          <p:spTgt spid="84"/>
                        </p:tgtEl>
                        <p:attrNameLst>
                          <p:attrName>style.visibility</p:attrName>
                        </p:attrNameLst>
                      </p:cBhvr>
                      <p:to>
                        <p:strVal val="visible"/>
                      </p:to>
                    </p:set>
                    <p:anim calcmode="lin" valueType="num">
                      <p:cBhvr additive="base">
                        <p:cTn dur="750" fill="hold"/>
                        <p:tgtEl>
                          <p:spTgt spid="84"/>
                        </p:tgtEl>
                        <p:attrNameLst>
                          <p:attrName>ppt_x</p:attrName>
                        </p:attrNameLst>
                      </p:cBhvr>
                      <p:tavLst>
                        <p:tav tm="0">
                          <p:val>
                            <p:strVal val="0-#ppt_w/2"/>
                          </p:val>
                        </p:tav>
                        <p:tav tm="100000">
                          <p:val>
                            <p:strVal val="#ppt_x"/>
                          </p:val>
                        </p:tav>
                      </p:tavLst>
                    </p:anim>
                    <p:anim calcmode="lin" valueType="num">
                      <p:cBhvr additive="base">
                        <p:cTn dur="750" fill="hold"/>
                        <p:tgtEl>
                          <p:spTgt spid="84"/>
                        </p:tgtEl>
                        <p:attrNameLst>
                          <p:attrName>ppt_y</p:attrName>
                        </p:attrNameLst>
                      </p:cBhvr>
                      <p:tavLst>
                        <p:tav tm="0">
                          <p:val>
                            <p:strVal val="#ppt_y"/>
                          </p:val>
                        </p:tav>
                        <p:tav tm="100000">
                          <p:val>
                            <p:strVal val="#ppt_y"/>
                          </p:val>
                        </p:tav>
                      </p:tavLst>
                    </p:anim>
                  </p:childTnLst>
                </p:cTn>
              </p:par>
            </p:tnLst>
          </p:tmpl>
        </p:tmplLst>
      </p:bldP>
      <p:bldP spid="86" grpId="0" animBg="1">
        <p:tmplLst>
          <p:tmpl>
            <p:tnLst>
              <p:par>
                <p:cTn presetID="2" presetClass="entr" presetSubtype="8" accel="50000" decel="50000" fill="hold" nodeType="withEffect">
                  <p:stCondLst>
                    <p:cond delay="0"/>
                  </p:stCondLst>
                  <p:childTnLst>
                    <p:set>
                      <p:cBhvr>
                        <p:cTn dur="1" fill="hold">
                          <p:stCondLst>
                            <p:cond delay="0"/>
                          </p:stCondLst>
                        </p:cTn>
                        <p:tgtEl>
                          <p:spTgt spid="86"/>
                        </p:tgtEl>
                        <p:attrNameLst>
                          <p:attrName>style.visibility</p:attrName>
                        </p:attrNameLst>
                      </p:cBhvr>
                      <p:to>
                        <p:strVal val="visible"/>
                      </p:to>
                    </p:set>
                    <p:anim calcmode="lin" valueType="num">
                      <p:cBhvr additive="base">
                        <p:cTn dur="2000" fill="hold"/>
                        <p:tgtEl>
                          <p:spTgt spid="86"/>
                        </p:tgtEl>
                        <p:attrNameLst>
                          <p:attrName>ppt_x</p:attrName>
                        </p:attrNameLst>
                      </p:cBhvr>
                      <p:tavLst>
                        <p:tav tm="0">
                          <p:val>
                            <p:strVal val="0-#ppt_w/2"/>
                          </p:val>
                        </p:tav>
                        <p:tav tm="100000">
                          <p:val>
                            <p:strVal val="#ppt_x"/>
                          </p:val>
                        </p:tav>
                      </p:tavLst>
                    </p:anim>
                    <p:anim calcmode="lin" valueType="num">
                      <p:cBhvr additive="base">
                        <p:cTn dur="2000" fill="hold"/>
                        <p:tgtEl>
                          <p:spTgt spid="86"/>
                        </p:tgtEl>
                        <p:attrNameLst>
                          <p:attrName>ppt_y</p:attrName>
                        </p:attrNameLst>
                      </p:cBhvr>
                      <p:tavLst>
                        <p:tav tm="0">
                          <p:val>
                            <p:strVal val="#ppt_y"/>
                          </p:val>
                        </p:tav>
                        <p:tav tm="100000">
                          <p:val>
                            <p:strVal val="#ppt_y"/>
                          </p:val>
                        </p:tav>
                      </p:tavLst>
                    </p:anim>
                  </p:childTnLst>
                </p:cTn>
              </p:par>
            </p:tnLst>
          </p:tmpl>
        </p:tmplLst>
      </p:bldP>
      <p:bldP spid="2" grpId="0"/>
      <p:bldP spid="65" grpId="0" animBg="1">
        <p:tmplLst>
          <p:tmpl>
            <p:tnLst>
              <p:par>
                <p:cTn presetID="2" presetClass="entr" presetSubtype="8" accel="50000" decel="50000" fill="hold" nodeType="withEffect">
                  <p:stCondLst>
                    <p:cond delay="500"/>
                  </p:stCondLst>
                  <p:childTnLst>
                    <p:set>
                      <p:cBhvr>
                        <p:cTn dur="1" fill="hold">
                          <p:stCondLst>
                            <p:cond delay="0"/>
                          </p:stCondLst>
                        </p:cTn>
                        <p:tgtEl>
                          <p:spTgt spid="65"/>
                        </p:tgtEl>
                        <p:attrNameLst>
                          <p:attrName>style.visibility</p:attrName>
                        </p:attrNameLst>
                      </p:cBhvr>
                      <p:to>
                        <p:strVal val="visible"/>
                      </p:to>
                    </p:set>
                    <p:anim calcmode="lin" valueType="num">
                      <p:cBhvr additive="base">
                        <p:cTn dur="1500" fill="hold"/>
                        <p:tgtEl>
                          <p:spTgt spid="65"/>
                        </p:tgtEl>
                        <p:attrNameLst>
                          <p:attrName>ppt_x</p:attrName>
                        </p:attrNameLst>
                      </p:cBhvr>
                      <p:tavLst>
                        <p:tav tm="0">
                          <p:val>
                            <p:strVal val="0-#ppt_w/2"/>
                          </p:val>
                        </p:tav>
                        <p:tav tm="100000">
                          <p:val>
                            <p:strVal val="#ppt_x"/>
                          </p:val>
                        </p:tav>
                      </p:tavLst>
                    </p:anim>
                    <p:anim calcmode="lin" valueType="num">
                      <p:cBhvr additive="base">
                        <p:cTn dur="1500" fill="hold"/>
                        <p:tgtEl>
                          <p:spTgt spid="65"/>
                        </p:tgtEl>
                        <p:attrNameLst>
                          <p:attrName>ppt_y</p:attrName>
                        </p:attrNameLst>
                      </p:cBhvr>
                      <p:tavLst>
                        <p:tav tm="0">
                          <p:val>
                            <p:strVal val="#ppt_y"/>
                          </p:val>
                        </p:tav>
                        <p:tav tm="100000">
                          <p:val>
                            <p:strVal val="#ppt_y"/>
                          </p:val>
                        </p:tav>
                      </p:tavLst>
                    </p:anim>
                  </p:childTnLst>
                </p:cTn>
              </p:par>
            </p:tnLst>
          </p:tmpl>
        </p:tmplLst>
      </p:bldP>
      <p:bldP spid="123" grpId="0"/>
      <p:bldP spid="124" grpId="0"/>
      <p:bldP spid="125" grpId="0">
        <p:tmplLst>
          <p:tmpl>
            <p:tnLst>
              <p:par>
                <p:cTn presetID="2" presetClass="entr" presetSubtype="8" decel="100000" fill="hold" nodeType="withEffect">
                  <p:stCondLst>
                    <p:cond delay="0"/>
                  </p:stCondLst>
                  <p:childTnLst>
                    <p:set>
                      <p:cBhvr>
                        <p:cTn dur="1" fill="hold">
                          <p:stCondLst>
                            <p:cond delay="0"/>
                          </p:stCondLst>
                        </p:cTn>
                        <p:tgtEl>
                          <p:spTgt spid="125"/>
                        </p:tgtEl>
                        <p:attrNameLst>
                          <p:attrName>style.visibility</p:attrName>
                        </p:attrNameLst>
                      </p:cBhvr>
                      <p:to>
                        <p:strVal val="visible"/>
                      </p:to>
                    </p:set>
                    <p:anim calcmode="lin" valueType="num">
                      <p:cBhvr additive="base">
                        <p:cTn dur="2000" fill="hold"/>
                        <p:tgtEl>
                          <p:spTgt spid="125"/>
                        </p:tgtEl>
                        <p:attrNameLst>
                          <p:attrName>ppt_x</p:attrName>
                        </p:attrNameLst>
                      </p:cBhvr>
                      <p:tavLst>
                        <p:tav tm="0">
                          <p:val>
                            <p:strVal val="0-#ppt_w/2"/>
                          </p:val>
                        </p:tav>
                        <p:tav tm="100000">
                          <p:val>
                            <p:strVal val="#ppt_x"/>
                          </p:val>
                        </p:tav>
                      </p:tavLst>
                    </p:anim>
                    <p:anim calcmode="lin" valueType="num">
                      <p:cBhvr additive="base">
                        <p:cTn dur="2000" fill="hold"/>
                        <p:tgtEl>
                          <p:spTgt spid="125"/>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4B366E-D09F-4CEC-A90C-D4D6B415F9C0}"/>
              </a:ext>
            </a:extLst>
          </p:cNvPr>
          <p:cNvSpPr>
            <a:spLocks noGrp="1"/>
          </p:cNvSpPr>
          <p:nvPr>
            <p:ph type="sldNum" sz="quarter" idx="10"/>
          </p:nvPr>
        </p:nvSpPr>
        <p:spPr/>
        <p:txBody>
          <a:bodyPr/>
          <a:lstStyle/>
          <a:p>
            <a:fld id="{1F1AB7F0-A183-4E3D-883C-6313A1D5ED02}" type="slidenum">
              <a:rPr lang="en-US" smtClean="0"/>
              <a:pPr/>
              <a:t>‹#›</a:t>
            </a:fld>
            <a:endParaRPr lang="en-US"/>
          </a:p>
        </p:txBody>
      </p:sp>
      <p:sp>
        <p:nvSpPr>
          <p:cNvPr id="5" name="Sub heading (optional)">
            <a:extLst>
              <a:ext uri="{FF2B5EF4-FFF2-40B4-BE49-F238E27FC236}">
                <a16:creationId xmlns:a16="http://schemas.microsoft.com/office/drawing/2014/main" id="{60B97A45-8008-46C2-B7C5-306140048156}"/>
              </a:ext>
            </a:extLst>
          </p:cNvPr>
          <p:cNvSpPr>
            <a:spLocks noGrp="1"/>
          </p:cNvSpPr>
          <p:nvPr>
            <p:ph type="body" sz="quarter" idx="11" hasCustomPrompt="1"/>
          </p:nvPr>
        </p:nvSpPr>
        <p:spPr>
          <a:xfrm>
            <a:off x="550864" y="289121"/>
            <a:ext cx="11090275" cy="242887"/>
          </a:xfrm>
        </p:spPr>
        <p:txBody>
          <a:bodyPr/>
          <a:lstStyle>
            <a:lvl1pPr marL="0" indent="0">
              <a:buNone/>
              <a:defRPr sz="1800">
                <a:solidFill>
                  <a:schemeClr val="tx2"/>
                </a:solidFill>
              </a:defRPr>
            </a:lvl1pPr>
            <a:lvl3pPr marL="285744" indent="-285744">
              <a:buFont typeface="Arial" panose="020B0604020202020204" pitchFamily="34" charset="0"/>
              <a:buChar char="•"/>
              <a:defRPr/>
            </a:lvl3pPr>
            <a:lvl4pPr marL="342891" indent="-342891">
              <a:buFont typeface="Arial" panose="020B0604020202020204" pitchFamily="34" charset="0"/>
              <a:buChar char="•"/>
              <a:defRPr/>
            </a:lvl4pPr>
            <a:lvl5pPr marL="285744" indent="-285744">
              <a:buFont typeface="Arial" panose="020B0604020202020204" pitchFamily="34" charset="0"/>
              <a:buChar char="•"/>
              <a:defRPr/>
            </a:lvl5pPr>
          </a:lstStyle>
          <a:p>
            <a:pPr lvl="0"/>
            <a:r>
              <a:rPr lang="en-US"/>
              <a:t>Sub heading (optional)</a:t>
            </a:r>
          </a:p>
        </p:txBody>
      </p:sp>
      <p:sp>
        <p:nvSpPr>
          <p:cNvPr id="4" name="Titel 3">
            <a:extLst>
              <a:ext uri="{FF2B5EF4-FFF2-40B4-BE49-F238E27FC236}">
                <a16:creationId xmlns:a16="http://schemas.microsoft.com/office/drawing/2014/main" id="{2118E438-D875-D849-E340-D12F615650DA}"/>
              </a:ext>
            </a:extLst>
          </p:cNvPr>
          <p:cNvSpPr>
            <a:spLocks noGrp="1"/>
          </p:cNvSpPr>
          <p:nvPr>
            <p:ph type="title" hasCustomPrompt="1"/>
          </p:nvPr>
        </p:nvSpPr>
        <p:spPr/>
        <p:txBody>
          <a:bodyPr/>
          <a:lstStyle/>
          <a:p>
            <a:r>
              <a:rPr lang="en-US" noProof="0"/>
              <a:t>Add a slide title, max. 1 line</a:t>
            </a:r>
            <a:endParaRPr lang="en-US"/>
          </a:p>
        </p:txBody>
      </p:sp>
      <p:cxnSp>
        <p:nvCxnSpPr>
          <p:cNvPr id="14" name="Straight Connector 13" hidden="1">
            <a:extLst>
              <a:ext uri="{FF2B5EF4-FFF2-40B4-BE49-F238E27FC236}">
                <a16:creationId xmlns:a16="http://schemas.microsoft.com/office/drawing/2014/main" id="{027A65ED-268E-12CE-F39B-C831DD948C7C}"/>
              </a:ext>
            </a:extLst>
          </p:cNvPr>
          <p:cNvCxnSpPr/>
          <p:nvPr userDrawn="1">
            <p:custDataLst>
              <p:tags r:id="rId1"/>
            </p:custDataLst>
          </p:nvPr>
        </p:nvCxnSpPr>
        <p:spPr>
          <a:xfrm>
            <a:off x="0" y="1387200"/>
            <a:ext cx="12192000" cy="0"/>
          </a:xfrm>
          <a:prstGeom prst="line">
            <a:avLst/>
          </a:prstGeom>
          <a:ln w="952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hidden="1">
            <a:extLst>
              <a:ext uri="{FF2B5EF4-FFF2-40B4-BE49-F238E27FC236}">
                <a16:creationId xmlns:a16="http://schemas.microsoft.com/office/drawing/2014/main" id="{FCD92568-7CE4-9815-CAB2-ADF14023F1A2}"/>
              </a:ext>
            </a:extLst>
          </p:cNvPr>
          <p:cNvCxnSpPr/>
          <p:nvPr userDrawn="1">
            <p:custDataLst>
              <p:tags r:id="rId2"/>
            </p:custDataLst>
          </p:nvPr>
        </p:nvCxnSpPr>
        <p:spPr>
          <a:xfrm>
            <a:off x="0" y="1795200"/>
            <a:ext cx="12192000" cy="0"/>
          </a:xfrm>
          <a:prstGeom prst="line">
            <a:avLst/>
          </a:prstGeom>
          <a:ln w="952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hidden="1">
            <a:extLst>
              <a:ext uri="{FF2B5EF4-FFF2-40B4-BE49-F238E27FC236}">
                <a16:creationId xmlns:a16="http://schemas.microsoft.com/office/drawing/2014/main" id="{5C670152-6131-E24F-9A6D-CE7DEDAD5E4F}"/>
              </a:ext>
            </a:extLst>
          </p:cNvPr>
          <p:cNvCxnSpPr/>
          <p:nvPr userDrawn="1">
            <p:custDataLst>
              <p:tags r:id="rId3"/>
            </p:custDataLst>
          </p:nvPr>
        </p:nvCxnSpPr>
        <p:spPr>
          <a:xfrm>
            <a:off x="0" y="3763200"/>
            <a:ext cx="12192000" cy="0"/>
          </a:xfrm>
          <a:prstGeom prst="line">
            <a:avLst/>
          </a:prstGeom>
          <a:ln w="952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hidden="1">
            <a:extLst>
              <a:ext uri="{FF2B5EF4-FFF2-40B4-BE49-F238E27FC236}">
                <a16:creationId xmlns:a16="http://schemas.microsoft.com/office/drawing/2014/main" id="{13C584AB-1534-36F1-A343-E14E65AA7286}"/>
              </a:ext>
            </a:extLst>
          </p:cNvPr>
          <p:cNvCxnSpPr/>
          <p:nvPr userDrawn="1">
            <p:custDataLst>
              <p:tags r:id="rId4"/>
            </p:custDataLst>
          </p:nvPr>
        </p:nvCxnSpPr>
        <p:spPr>
          <a:xfrm>
            <a:off x="0" y="6307200"/>
            <a:ext cx="12192000" cy="0"/>
          </a:xfrm>
          <a:prstGeom prst="line">
            <a:avLst/>
          </a:prstGeom>
          <a:ln w="952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hidden="1">
            <a:extLst>
              <a:ext uri="{FF2B5EF4-FFF2-40B4-BE49-F238E27FC236}">
                <a16:creationId xmlns:a16="http://schemas.microsoft.com/office/drawing/2014/main" id="{6470E77F-1F08-7A41-8FF8-391E1F13F385}"/>
              </a:ext>
            </a:extLst>
          </p:cNvPr>
          <p:cNvCxnSpPr/>
          <p:nvPr userDrawn="1">
            <p:custDataLst>
              <p:tags r:id="rId5"/>
            </p:custDataLst>
          </p:nvPr>
        </p:nvCxnSpPr>
        <p:spPr>
          <a:xfrm>
            <a:off x="278400" y="0"/>
            <a:ext cx="0" cy="6858000"/>
          </a:xfrm>
          <a:prstGeom prst="line">
            <a:avLst/>
          </a:prstGeom>
          <a:ln w="952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hidden="1">
            <a:extLst>
              <a:ext uri="{FF2B5EF4-FFF2-40B4-BE49-F238E27FC236}">
                <a16:creationId xmlns:a16="http://schemas.microsoft.com/office/drawing/2014/main" id="{6A5FDEE4-BE14-FF6E-3542-1D6F5A5D8A42}"/>
              </a:ext>
            </a:extLst>
          </p:cNvPr>
          <p:cNvCxnSpPr/>
          <p:nvPr userDrawn="1">
            <p:custDataLst>
              <p:tags r:id="rId6"/>
            </p:custDataLst>
          </p:nvPr>
        </p:nvCxnSpPr>
        <p:spPr>
          <a:xfrm>
            <a:off x="6096000" y="0"/>
            <a:ext cx="0" cy="6858000"/>
          </a:xfrm>
          <a:prstGeom prst="line">
            <a:avLst/>
          </a:prstGeom>
          <a:ln w="952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hidden="1">
            <a:extLst>
              <a:ext uri="{FF2B5EF4-FFF2-40B4-BE49-F238E27FC236}">
                <a16:creationId xmlns:a16="http://schemas.microsoft.com/office/drawing/2014/main" id="{98E34201-09BD-F342-4A3F-B6A59D5A417A}"/>
              </a:ext>
            </a:extLst>
          </p:cNvPr>
          <p:cNvCxnSpPr/>
          <p:nvPr userDrawn="1">
            <p:custDataLst>
              <p:tags r:id="rId7"/>
            </p:custDataLst>
          </p:nvPr>
        </p:nvCxnSpPr>
        <p:spPr>
          <a:xfrm>
            <a:off x="8400000" y="0"/>
            <a:ext cx="0" cy="6858000"/>
          </a:xfrm>
          <a:prstGeom prst="line">
            <a:avLst/>
          </a:prstGeom>
          <a:ln w="952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hidden="1">
            <a:extLst>
              <a:ext uri="{FF2B5EF4-FFF2-40B4-BE49-F238E27FC236}">
                <a16:creationId xmlns:a16="http://schemas.microsoft.com/office/drawing/2014/main" id="{0EDAF40F-8F67-54F4-2B2C-9BC28F6EB0F1}"/>
              </a:ext>
            </a:extLst>
          </p:cNvPr>
          <p:cNvCxnSpPr/>
          <p:nvPr userDrawn="1">
            <p:custDataLst>
              <p:tags r:id="rId8"/>
            </p:custDataLst>
          </p:nvPr>
        </p:nvCxnSpPr>
        <p:spPr>
          <a:xfrm>
            <a:off x="8688000" y="0"/>
            <a:ext cx="0" cy="6858000"/>
          </a:xfrm>
          <a:prstGeom prst="line">
            <a:avLst/>
          </a:prstGeom>
          <a:ln w="952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hidden="1">
            <a:extLst>
              <a:ext uri="{FF2B5EF4-FFF2-40B4-BE49-F238E27FC236}">
                <a16:creationId xmlns:a16="http://schemas.microsoft.com/office/drawing/2014/main" id="{38C599B8-8D90-CCD4-8868-F77B910C2785}"/>
              </a:ext>
            </a:extLst>
          </p:cNvPr>
          <p:cNvCxnSpPr/>
          <p:nvPr userDrawn="1">
            <p:custDataLst>
              <p:tags r:id="rId9"/>
            </p:custDataLst>
          </p:nvPr>
        </p:nvCxnSpPr>
        <p:spPr>
          <a:xfrm>
            <a:off x="11913600" y="0"/>
            <a:ext cx="0" cy="6858000"/>
          </a:xfrm>
          <a:prstGeom prst="line">
            <a:avLst/>
          </a:prstGeom>
          <a:ln w="952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71594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5642911-CA58-C3D7-51F1-71A6B9476E1C}"/>
              </a:ext>
            </a:extLst>
          </p:cNvPr>
          <p:cNvGraphicFramePr>
            <a:graphicFrameLocks noChangeAspect="1"/>
          </p:cNvGraphicFramePr>
          <p:nvPr userDrawn="1">
            <p:custDataLst>
              <p:tags r:id="rId10"/>
            </p:custDataLst>
            <p:extLst>
              <p:ext uri="{D42A27DB-BD31-4B8C-83A1-F6EECF244321}">
                <p14:modId xmlns:p14="http://schemas.microsoft.com/office/powerpoint/2010/main" val="4256335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5" imgH="416" progId="TCLayout.ActiveDocument.1">
                  <p:embed/>
                </p:oleObj>
              </mc:Choice>
              <mc:Fallback>
                <p:oleObj name="think-cell Slide" r:id="rId11" imgW="415" imgH="416" progId="TCLayout.ActiveDocument.1">
                  <p:embed/>
                  <p:pic>
                    <p:nvPicPr>
                      <p:cNvPr id="6" name="Object 5" hidden="1">
                        <a:extLst>
                          <a:ext uri="{FF2B5EF4-FFF2-40B4-BE49-F238E27FC236}">
                            <a16:creationId xmlns:a16="http://schemas.microsoft.com/office/drawing/2014/main" id="{65642911-CA58-C3D7-51F1-71A6B9476E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14" name="Caldic_Logo">
            <a:extLst>
              <a:ext uri="{FF2B5EF4-FFF2-40B4-BE49-F238E27FC236}">
                <a16:creationId xmlns:a16="http://schemas.microsoft.com/office/drawing/2014/main" id="{FFBE9688-0BA5-F599-916E-3A398613539F}"/>
              </a:ext>
            </a:extLst>
          </p:cNvPr>
          <p:cNvGrpSpPr/>
          <p:nvPr/>
        </p:nvGrpSpPr>
        <p:grpSpPr>
          <a:xfrm>
            <a:off x="551983" y="6475288"/>
            <a:ext cx="1008000" cy="240210"/>
            <a:chOff x="564752" y="2252987"/>
            <a:chExt cx="10872473" cy="2356676"/>
          </a:xfrm>
          <a:solidFill>
            <a:srgbClr val="FF5000"/>
          </a:solidFill>
        </p:grpSpPr>
        <p:grpSp>
          <p:nvGrpSpPr>
            <p:cNvPr id="16" name="Graphic 5">
              <a:extLst>
                <a:ext uri="{FF2B5EF4-FFF2-40B4-BE49-F238E27FC236}">
                  <a16:creationId xmlns:a16="http://schemas.microsoft.com/office/drawing/2014/main" id="{B613FB16-7566-A76C-4F5A-B2B54DBCAA52}"/>
                </a:ext>
              </a:extLst>
            </p:cNvPr>
            <p:cNvGrpSpPr/>
            <p:nvPr/>
          </p:nvGrpSpPr>
          <p:grpSpPr>
            <a:xfrm>
              <a:off x="3737944" y="2252987"/>
              <a:ext cx="7699281" cy="2356676"/>
              <a:chOff x="3737944" y="2252987"/>
              <a:chExt cx="7699281" cy="2356676"/>
            </a:xfrm>
            <a:solidFill>
              <a:srgbClr val="FF5000"/>
            </a:solidFill>
          </p:grpSpPr>
          <p:sp>
            <p:nvSpPr>
              <p:cNvPr id="32" name="Caldic_C">
                <a:extLst>
                  <a:ext uri="{FF2B5EF4-FFF2-40B4-BE49-F238E27FC236}">
                    <a16:creationId xmlns:a16="http://schemas.microsoft.com/office/drawing/2014/main" id="{8B2475CF-FC3A-D42A-FDB7-2F449D3E4D80}"/>
                  </a:ext>
                </a:extLst>
              </p:cNvPr>
              <p:cNvSpPr/>
              <p:nvPr/>
            </p:nvSpPr>
            <p:spPr>
              <a:xfrm>
                <a:off x="10203358" y="2252987"/>
                <a:ext cx="1233867" cy="2356676"/>
              </a:xfrm>
              <a:custGeom>
                <a:avLst/>
                <a:gdLst>
                  <a:gd name="connsiteX0" fmla="*/ 817944 w 1233867"/>
                  <a:gd name="connsiteY0" fmla="*/ 1754053 h 2356676"/>
                  <a:gd name="connsiteX1" fmla="*/ 814622 w 1233867"/>
                  <a:gd name="connsiteY1" fmla="*/ 1855044 h 2356676"/>
                  <a:gd name="connsiteX2" fmla="*/ 794025 w 1233867"/>
                  <a:gd name="connsiteY2" fmla="*/ 1944740 h 2356676"/>
                  <a:gd name="connsiteX3" fmla="*/ 736885 w 1233867"/>
                  <a:gd name="connsiteY3" fmla="*/ 2008524 h 2356676"/>
                  <a:gd name="connsiteX4" fmla="*/ 623935 w 1233867"/>
                  <a:gd name="connsiteY4" fmla="*/ 2032443 h 2356676"/>
                  <a:gd name="connsiteX5" fmla="*/ 512978 w 1233867"/>
                  <a:gd name="connsiteY5" fmla="*/ 2011846 h 2356676"/>
                  <a:gd name="connsiteX6" fmla="*/ 451187 w 1233867"/>
                  <a:gd name="connsiteY6" fmla="*/ 1956035 h 2356676"/>
                  <a:gd name="connsiteX7" fmla="*/ 423946 w 1233867"/>
                  <a:gd name="connsiteY7" fmla="*/ 1874312 h 2356676"/>
                  <a:gd name="connsiteX8" fmla="*/ 417302 w 1233867"/>
                  <a:gd name="connsiteY8" fmla="*/ 1776643 h 2356676"/>
                  <a:gd name="connsiteX9" fmla="*/ 417302 w 1233867"/>
                  <a:gd name="connsiteY9" fmla="*/ 566745 h 2356676"/>
                  <a:gd name="connsiteX10" fmla="*/ 421953 w 1233867"/>
                  <a:gd name="connsiteY10" fmla="*/ 485022 h 2356676"/>
                  <a:gd name="connsiteX11" fmla="*/ 445872 w 1233867"/>
                  <a:gd name="connsiteY11" fmla="*/ 405293 h 2356676"/>
                  <a:gd name="connsiteX12" fmla="*/ 503012 w 1233867"/>
                  <a:gd name="connsiteY12" fmla="*/ 344167 h 2356676"/>
                  <a:gd name="connsiteX13" fmla="*/ 607989 w 1233867"/>
                  <a:gd name="connsiteY13" fmla="*/ 320248 h 2356676"/>
                  <a:gd name="connsiteX14" fmla="*/ 715624 w 1233867"/>
                  <a:gd name="connsiteY14" fmla="*/ 337522 h 2356676"/>
                  <a:gd name="connsiteX15" fmla="*/ 779408 w 1233867"/>
                  <a:gd name="connsiteY15" fmla="*/ 388682 h 2356676"/>
                  <a:gd name="connsiteX16" fmla="*/ 809307 w 1233867"/>
                  <a:gd name="connsiteY16" fmla="*/ 471734 h 2356676"/>
                  <a:gd name="connsiteX17" fmla="*/ 817279 w 1233867"/>
                  <a:gd name="connsiteY17" fmla="*/ 585349 h 2356676"/>
                  <a:gd name="connsiteX18" fmla="*/ 817279 w 1233867"/>
                  <a:gd name="connsiteY18" fmla="*/ 843806 h 2356676"/>
                  <a:gd name="connsiteX19" fmla="*/ 1233203 w 1233867"/>
                  <a:gd name="connsiteY19" fmla="*/ 843806 h 2356676"/>
                  <a:gd name="connsiteX20" fmla="*/ 1233203 w 1233867"/>
                  <a:gd name="connsiteY20" fmla="*/ 524223 h 2356676"/>
                  <a:gd name="connsiteX21" fmla="*/ 1223901 w 1233867"/>
                  <a:gd name="connsiteY21" fmla="*/ 374065 h 2356676"/>
                  <a:gd name="connsiteX22" fmla="*/ 1156796 w 1233867"/>
                  <a:gd name="connsiteY22" fmla="*/ 201318 h 2356676"/>
                  <a:gd name="connsiteX23" fmla="*/ 974082 w 1233867"/>
                  <a:gd name="connsiteY23" fmla="*/ 59133 h 2356676"/>
                  <a:gd name="connsiteX24" fmla="*/ 618620 w 1233867"/>
                  <a:gd name="connsiteY24" fmla="*/ 0 h 2356676"/>
                  <a:gd name="connsiteX25" fmla="*/ 525602 w 1233867"/>
                  <a:gd name="connsiteY25" fmla="*/ 3322 h 2356676"/>
                  <a:gd name="connsiteX26" fmla="*/ 394048 w 1233867"/>
                  <a:gd name="connsiteY26" fmla="*/ 23919 h 2356676"/>
                  <a:gd name="connsiteX27" fmla="*/ 248541 w 1233867"/>
                  <a:gd name="connsiteY27" fmla="*/ 77072 h 2356676"/>
                  <a:gd name="connsiteX28" fmla="*/ 112336 w 1233867"/>
                  <a:gd name="connsiteY28" fmla="*/ 179392 h 2356676"/>
                  <a:gd name="connsiteX29" fmla="*/ 17989 w 1233867"/>
                  <a:gd name="connsiteY29" fmla="*/ 362106 h 2356676"/>
                  <a:gd name="connsiteX30" fmla="*/ 50 w 1233867"/>
                  <a:gd name="connsiteY30" fmla="*/ 599302 h 2356676"/>
                  <a:gd name="connsiteX31" fmla="*/ 50 w 1233867"/>
                  <a:gd name="connsiteY31" fmla="*/ 1828468 h 2356676"/>
                  <a:gd name="connsiteX32" fmla="*/ 3372 w 1233867"/>
                  <a:gd name="connsiteY32" fmla="*/ 1930788 h 2356676"/>
                  <a:gd name="connsiteX33" fmla="*/ 22640 w 1233867"/>
                  <a:gd name="connsiteY33" fmla="*/ 2041080 h 2356676"/>
                  <a:gd name="connsiteX34" fmla="*/ 75793 w 1233867"/>
                  <a:gd name="connsiteY34" fmla="*/ 2150044 h 2356676"/>
                  <a:gd name="connsiteX35" fmla="*/ 180107 w 1233867"/>
                  <a:gd name="connsiteY35" fmla="*/ 2247713 h 2356676"/>
                  <a:gd name="connsiteX36" fmla="*/ 404014 w 1233867"/>
                  <a:gd name="connsiteY36" fmla="*/ 2334087 h 2356676"/>
                  <a:gd name="connsiteX37" fmla="*/ 618620 w 1233867"/>
                  <a:gd name="connsiteY37" fmla="*/ 2356677 h 2356676"/>
                  <a:gd name="connsiteX38" fmla="*/ 974082 w 1233867"/>
                  <a:gd name="connsiteY38" fmla="*/ 2292893 h 2356676"/>
                  <a:gd name="connsiteX39" fmla="*/ 1156796 w 1233867"/>
                  <a:gd name="connsiteY39" fmla="*/ 2137420 h 2356676"/>
                  <a:gd name="connsiteX40" fmla="*/ 1224566 w 1233867"/>
                  <a:gd name="connsiteY40" fmla="*/ 1946733 h 2356676"/>
                  <a:gd name="connsiteX41" fmla="*/ 1233867 w 1233867"/>
                  <a:gd name="connsiteY41" fmla="*/ 1780630 h 2356676"/>
                  <a:gd name="connsiteX42" fmla="*/ 1233867 w 1233867"/>
                  <a:gd name="connsiteY42" fmla="*/ 1460382 h 2356676"/>
                  <a:gd name="connsiteX43" fmla="*/ 817944 w 1233867"/>
                  <a:gd name="connsiteY43" fmla="*/ 1460382 h 2356676"/>
                  <a:gd name="connsiteX44" fmla="*/ 817944 w 1233867"/>
                  <a:gd name="connsiteY44" fmla="*/ 1754053 h 235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33867" h="2356676">
                    <a:moveTo>
                      <a:pt x="817944" y="1754053"/>
                    </a:moveTo>
                    <a:cubicBezTo>
                      <a:pt x="817944" y="1787938"/>
                      <a:pt x="816615" y="1821824"/>
                      <a:pt x="814622" y="1855044"/>
                    </a:cubicBezTo>
                    <a:cubicBezTo>
                      <a:pt x="813293" y="1885607"/>
                      <a:pt x="805985" y="1916170"/>
                      <a:pt x="794025" y="1944740"/>
                    </a:cubicBezTo>
                    <a:cubicBezTo>
                      <a:pt x="782066" y="1971317"/>
                      <a:pt x="762133" y="1993907"/>
                      <a:pt x="736885" y="2008524"/>
                    </a:cubicBezTo>
                    <a:cubicBezTo>
                      <a:pt x="710309" y="2024470"/>
                      <a:pt x="672437" y="2032443"/>
                      <a:pt x="623935" y="2032443"/>
                    </a:cubicBezTo>
                    <a:cubicBezTo>
                      <a:pt x="577426" y="2032443"/>
                      <a:pt x="540219" y="2025799"/>
                      <a:pt x="512978" y="2011846"/>
                    </a:cubicBezTo>
                    <a:cubicBezTo>
                      <a:pt x="487066" y="1999887"/>
                      <a:pt x="465805" y="1979954"/>
                      <a:pt x="451187" y="1956035"/>
                    </a:cubicBezTo>
                    <a:cubicBezTo>
                      <a:pt x="436570" y="1930788"/>
                      <a:pt x="427933" y="1902882"/>
                      <a:pt x="423946" y="1874312"/>
                    </a:cubicBezTo>
                    <a:cubicBezTo>
                      <a:pt x="419296" y="1841756"/>
                      <a:pt x="417302" y="1809200"/>
                      <a:pt x="417302" y="1776643"/>
                    </a:cubicBezTo>
                    <a:lnTo>
                      <a:pt x="417302" y="566745"/>
                    </a:lnTo>
                    <a:cubicBezTo>
                      <a:pt x="417302" y="539504"/>
                      <a:pt x="419296" y="512263"/>
                      <a:pt x="421953" y="485022"/>
                    </a:cubicBezTo>
                    <a:cubicBezTo>
                      <a:pt x="424611" y="457117"/>
                      <a:pt x="433248" y="429876"/>
                      <a:pt x="445872" y="405293"/>
                    </a:cubicBezTo>
                    <a:cubicBezTo>
                      <a:pt x="459161" y="380045"/>
                      <a:pt x="479093" y="359448"/>
                      <a:pt x="503012" y="344167"/>
                    </a:cubicBezTo>
                    <a:cubicBezTo>
                      <a:pt x="528259" y="328221"/>
                      <a:pt x="563473" y="320248"/>
                      <a:pt x="607989" y="320248"/>
                    </a:cubicBezTo>
                    <a:cubicBezTo>
                      <a:pt x="652505" y="320248"/>
                      <a:pt x="688384" y="326227"/>
                      <a:pt x="715624" y="337522"/>
                    </a:cubicBezTo>
                    <a:cubicBezTo>
                      <a:pt x="741537" y="348153"/>
                      <a:pt x="763462" y="365428"/>
                      <a:pt x="779408" y="388682"/>
                    </a:cubicBezTo>
                    <a:cubicBezTo>
                      <a:pt x="795354" y="413930"/>
                      <a:pt x="805320" y="442500"/>
                      <a:pt x="809307" y="471734"/>
                    </a:cubicBezTo>
                    <a:cubicBezTo>
                      <a:pt x="814622" y="509606"/>
                      <a:pt x="817279" y="547477"/>
                      <a:pt x="817279" y="585349"/>
                    </a:cubicBezTo>
                    <a:lnTo>
                      <a:pt x="817279" y="843806"/>
                    </a:lnTo>
                    <a:lnTo>
                      <a:pt x="1233203" y="843806"/>
                    </a:lnTo>
                    <a:lnTo>
                      <a:pt x="1233203" y="524223"/>
                    </a:lnTo>
                    <a:cubicBezTo>
                      <a:pt x="1232538" y="473727"/>
                      <a:pt x="1229216" y="423896"/>
                      <a:pt x="1223901" y="374065"/>
                    </a:cubicBezTo>
                    <a:cubicBezTo>
                      <a:pt x="1216593" y="311610"/>
                      <a:pt x="1193338" y="252477"/>
                      <a:pt x="1156796" y="201318"/>
                    </a:cubicBezTo>
                    <a:cubicBezTo>
                      <a:pt x="1118259" y="146171"/>
                      <a:pt x="1057798" y="98333"/>
                      <a:pt x="974082" y="59133"/>
                    </a:cubicBezTo>
                    <a:cubicBezTo>
                      <a:pt x="890365" y="19932"/>
                      <a:pt x="772100" y="0"/>
                      <a:pt x="618620" y="0"/>
                    </a:cubicBezTo>
                    <a:cubicBezTo>
                      <a:pt x="597358" y="0"/>
                      <a:pt x="566131" y="1329"/>
                      <a:pt x="525602" y="3322"/>
                    </a:cubicBezTo>
                    <a:cubicBezTo>
                      <a:pt x="481086" y="5980"/>
                      <a:pt x="437235" y="13288"/>
                      <a:pt x="394048" y="23919"/>
                    </a:cubicBezTo>
                    <a:cubicBezTo>
                      <a:pt x="344217" y="37207"/>
                      <a:pt x="295050" y="54482"/>
                      <a:pt x="248541" y="77072"/>
                    </a:cubicBezTo>
                    <a:cubicBezTo>
                      <a:pt x="196717" y="101655"/>
                      <a:pt x="150208" y="136869"/>
                      <a:pt x="112336" y="179392"/>
                    </a:cubicBezTo>
                    <a:cubicBezTo>
                      <a:pt x="61176" y="235203"/>
                      <a:pt x="29948" y="295664"/>
                      <a:pt x="17989" y="362106"/>
                    </a:cubicBezTo>
                    <a:cubicBezTo>
                      <a:pt x="5365" y="440507"/>
                      <a:pt x="-614" y="519572"/>
                      <a:pt x="50" y="599302"/>
                    </a:cubicBezTo>
                    <a:lnTo>
                      <a:pt x="50" y="1828468"/>
                    </a:lnTo>
                    <a:cubicBezTo>
                      <a:pt x="50" y="1860360"/>
                      <a:pt x="1379" y="1894909"/>
                      <a:pt x="3372" y="1930788"/>
                    </a:cubicBezTo>
                    <a:cubicBezTo>
                      <a:pt x="5365" y="1967995"/>
                      <a:pt x="12010" y="2005202"/>
                      <a:pt x="22640" y="2041080"/>
                    </a:cubicBezTo>
                    <a:cubicBezTo>
                      <a:pt x="33936" y="2080281"/>
                      <a:pt x="51874" y="2116824"/>
                      <a:pt x="75793" y="2150044"/>
                    </a:cubicBezTo>
                    <a:cubicBezTo>
                      <a:pt x="104363" y="2188580"/>
                      <a:pt x="139577" y="2221801"/>
                      <a:pt x="180107" y="2247713"/>
                    </a:cubicBezTo>
                    <a:cubicBezTo>
                      <a:pt x="248541" y="2290900"/>
                      <a:pt x="324284" y="2320799"/>
                      <a:pt x="404014" y="2334087"/>
                    </a:cubicBezTo>
                    <a:cubicBezTo>
                      <a:pt x="474442" y="2348040"/>
                      <a:pt x="546199" y="2355348"/>
                      <a:pt x="618620" y="2356677"/>
                    </a:cubicBezTo>
                    <a:cubicBezTo>
                      <a:pt x="772100" y="2356677"/>
                      <a:pt x="890365" y="2335416"/>
                      <a:pt x="974082" y="2292893"/>
                    </a:cubicBezTo>
                    <a:cubicBezTo>
                      <a:pt x="1057133" y="2250371"/>
                      <a:pt x="1118259" y="2198546"/>
                      <a:pt x="1156796" y="2137420"/>
                    </a:cubicBezTo>
                    <a:cubicBezTo>
                      <a:pt x="1194003" y="2080281"/>
                      <a:pt x="1217257" y="2014504"/>
                      <a:pt x="1224566" y="1946733"/>
                    </a:cubicBezTo>
                    <a:cubicBezTo>
                      <a:pt x="1231210" y="1880292"/>
                      <a:pt x="1233867" y="1825146"/>
                      <a:pt x="1233867" y="1780630"/>
                    </a:cubicBezTo>
                    <a:lnTo>
                      <a:pt x="1233867" y="1460382"/>
                    </a:lnTo>
                    <a:lnTo>
                      <a:pt x="817944" y="1460382"/>
                    </a:lnTo>
                    <a:lnTo>
                      <a:pt x="817944" y="1754053"/>
                    </a:lnTo>
                    <a:close/>
                  </a:path>
                </a:pathLst>
              </a:custGeom>
              <a:solidFill>
                <a:srgbClr val="FF5000"/>
              </a:solidFill>
              <a:ln w="6644" cap="flat">
                <a:noFill/>
                <a:prstDash val="solid"/>
                <a:miter/>
              </a:ln>
            </p:spPr>
            <p:txBody>
              <a:bodyPr rtlCol="0" anchor="ctr"/>
              <a:lstStyle/>
              <a:p>
                <a:endParaRPr lang="en-GB"/>
              </a:p>
            </p:txBody>
          </p:sp>
          <p:sp>
            <p:nvSpPr>
              <p:cNvPr id="31" name="Caldic_I">
                <a:extLst>
                  <a:ext uri="{FF2B5EF4-FFF2-40B4-BE49-F238E27FC236}">
                    <a16:creationId xmlns:a16="http://schemas.microsoft.com/office/drawing/2014/main" id="{D8FA47E9-5D4C-5F85-71F8-2D2A76F7201A}"/>
                  </a:ext>
                </a:extLst>
              </p:cNvPr>
              <p:cNvSpPr/>
              <p:nvPr/>
            </p:nvSpPr>
            <p:spPr>
              <a:xfrm>
                <a:off x="9416742" y="2300824"/>
                <a:ext cx="416587" cy="2260336"/>
              </a:xfrm>
              <a:custGeom>
                <a:avLst/>
                <a:gdLst>
                  <a:gd name="connsiteX0" fmla="*/ 0 w 416587"/>
                  <a:gd name="connsiteY0" fmla="*/ 0 h 2260336"/>
                  <a:gd name="connsiteX1" fmla="*/ 416587 w 416587"/>
                  <a:gd name="connsiteY1" fmla="*/ 0 h 2260336"/>
                  <a:gd name="connsiteX2" fmla="*/ 416587 w 416587"/>
                  <a:gd name="connsiteY2" fmla="*/ 2260337 h 2260336"/>
                  <a:gd name="connsiteX3" fmla="*/ 664 w 416587"/>
                  <a:gd name="connsiteY3" fmla="*/ 2260337 h 2260336"/>
                  <a:gd name="connsiteX4" fmla="*/ 0 w 416587"/>
                  <a:gd name="connsiteY4" fmla="*/ 0 h 2260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587" h="2260336">
                    <a:moveTo>
                      <a:pt x="0" y="0"/>
                    </a:moveTo>
                    <a:lnTo>
                      <a:pt x="416587" y="0"/>
                    </a:lnTo>
                    <a:lnTo>
                      <a:pt x="416587" y="2260337"/>
                    </a:lnTo>
                    <a:lnTo>
                      <a:pt x="664" y="2260337"/>
                    </a:lnTo>
                    <a:lnTo>
                      <a:pt x="0" y="0"/>
                    </a:lnTo>
                    <a:close/>
                  </a:path>
                </a:pathLst>
              </a:custGeom>
              <a:solidFill>
                <a:srgbClr val="FF5000"/>
              </a:solidFill>
              <a:ln w="6644" cap="flat">
                <a:noFill/>
                <a:prstDash val="solid"/>
                <a:miter/>
              </a:ln>
            </p:spPr>
            <p:txBody>
              <a:bodyPr rtlCol="0" anchor="ctr"/>
              <a:lstStyle/>
              <a:p>
                <a:endParaRPr lang="en-GB"/>
              </a:p>
            </p:txBody>
          </p:sp>
          <p:sp>
            <p:nvSpPr>
              <p:cNvPr id="28" name="Caldic_D">
                <a:extLst>
                  <a:ext uri="{FF2B5EF4-FFF2-40B4-BE49-F238E27FC236}">
                    <a16:creationId xmlns:a16="http://schemas.microsoft.com/office/drawing/2014/main" id="{EDB42B87-5BD4-B760-69EB-4D709EAE248D}"/>
                  </a:ext>
                </a:extLst>
              </p:cNvPr>
              <p:cNvSpPr/>
              <p:nvPr/>
            </p:nvSpPr>
            <p:spPr>
              <a:xfrm>
                <a:off x="7810852" y="2300824"/>
                <a:ext cx="1242492" cy="2259008"/>
              </a:xfrm>
              <a:custGeom>
                <a:avLst/>
                <a:gdLst>
                  <a:gd name="connsiteX0" fmla="*/ 0 w 1242492"/>
                  <a:gd name="connsiteY0" fmla="*/ 0 h 2259008"/>
                  <a:gd name="connsiteX1" fmla="*/ 672388 w 1242492"/>
                  <a:gd name="connsiteY1" fmla="*/ 0 h 2259008"/>
                  <a:gd name="connsiteX2" fmla="*/ 778029 w 1242492"/>
                  <a:gd name="connsiteY2" fmla="*/ 1329 h 2259008"/>
                  <a:gd name="connsiteX3" fmla="*/ 888322 w 1242492"/>
                  <a:gd name="connsiteY3" fmla="*/ 17275 h 2259008"/>
                  <a:gd name="connsiteX4" fmla="*/ 1000608 w 1242492"/>
                  <a:gd name="connsiteY4" fmla="*/ 60462 h 2259008"/>
                  <a:gd name="connsiteX5" fmla="*/ 1107579 w 1242492"/>
                  <a:gd name="connsiteY5" fmla="*/ 140191 h 2259008"/>
                  <a:gd name="connsiteX6" fmla="*/ 1219864 w 1242492"/>
                  <a:gd name="connsiteY6" fmla="*/ 346824 h 2259008"/>
                  <a:gd name="connsiteX7" fmla="*/ 1242455 w 1242492"/>
                  <a:gd name="connsiteY7" fmla="*/ 594651 h 2259008"/>
                  <a:gd name="connsiteX8" fmla="*/ 1242455 w 1242492"/>
                  <a:gd name="connsiteY8" fmla="*/ 1651069 h 2259008"/>
                  <a:gd name="connsiteX9" fmla="*/ 1226508 w 1242492"/>
                  <a:gd name="connsiteY9" fmla="*/ 1878299 h 2259008"/>
                  <a:gd name="connsiteX10" fmla="*/ 1152759 w 1242492"/>
                  <a:gd name="connsiteY10" fmla="*/ 2071643 h 2259008"/>
                  <a:gd name="connsiteX11" fmla="*/ 980011 w 1242492"/>
                  <a:gd name="connsiteY11" fmla="*/ 2207848 h 2259008"/>
                  <a:gd name="connsiteX12" fmla="*/ 669730 w 1242492"/>
                  <a:gd name="connsiteY12" fmla="*/ 2259008 h 2259008"/>
                  <a:gd name="connsiteX13" fmla="*/ 664 w 1242492"/>
                  <a:gd name="connsiteY13" fmla="*/ 2259008 h 2259008"/>
                  <a:gd name="connsiteX14" fmla="*/ 0 w 1242492"/>
                  <a:gd name="connsiteY14" fmla="*/ 0 h 2259008"/>
                  <a:gd name="connsiteX15" fmla="*/ 415923 w 1242492"/>
                  <a:gd name="connsiteY15" fmla="*/ 1930123 h 2259008"/>
                  <a:gd name="connsiteX16" fmla="*/ 604617 w 1242492"/>
                  <a:gd name="connsiteY16" fmla="*/ 1930123 h 2259008"/>
                  <a:gd name="connsiteX17" fmla="*/ 647804 w 1242492"/>
                  <a:gd name="connsiteY17" fmla="*/ 1928794 h 2259008"/>
                  <a:gd name="connsiteX18" fmla="*/ 676374 w 1242492"/>
                  <a:gd name="connsiteY18" fmla="*/ 1924143 h 2259008"/>
                  <a:gd name="connsiteX19" fmla="*/ 764076 w 1242492"/>
                  <a:gd name="connsiteY19" fmla="*/ 1888929 h 2259008"/>
                  <a:gd name="connsiteX20" fmla="*/ 808593 w 1242492"/>
                  <a:gd name="connsiteY20" fmla="*/ 1827803 h 2259008"/>
                  <a:gd name="connsiteX21" fmla="*/ 824538 w 1242492"/>
                  <a:gd name="connsiteY21" fmla="*/ 1756047 h 2259008"/>
                  <a:gd name="connsiteX22" fmla="*/ 825867 w 1242492"/>
                  <a:gd name="connsiteY22" fmla="*/ 1686948 h 2259008"/>
                  <a:gd name="connsiteX23" fmla="*/ 825867 w 1242492"/>
                  <a:gd name="connsiteY23" fmla="*/ 560101 h 2259008"/>
                  <a:gd name="connsiteX24" fmla="*/ 813243 w 1242492"/>
                  <a:gd name="connsiteY24" fmla="*/ 438513 h 2259008"/>
                  <a:gd name="connsiteX25" fmla="*/ 770056 w 1242492"/>
                  <a:gd name="connsiteY25" fmla="*/ 369414 h 2259008"/>
                  <a:gd name="connsiteX26" fmla="*/ 692320 w 1242492"/>
                  <a:gd name="connsiteY26" fmla="*/ 337522 h 2259008"/>
                  <a:gd name="connsiteX27" fmla="*/ 578040 w 1242492"/>
                  <a:gd name="connsiteY27" fmla="*/ 329549 h 2259008"/>
                  <a:gd name="connsiteX28" fmla="*/ 415923 w 1242492"/>
                  <a:gd name="connsiteY28" fmla="*/ 329549 h 2259008"/>
                  <a:gd name="connsiteX29" fmla="*/ 415923 w 1242492"/>
                  <a:gd name="connsiteY29" fmla="*/ 1930123 h 225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42492" h="2259008">
                    <a:moveTo>
                      <a:pt x="0" y="0"/>
                    </a:moveTo>
                    <a:lnTo>
                      <a:pt x="672388" y="0"/>
                    </a:lnTo>
                    <a:cubicBezTo>
                      <a:pt x="706273" y="0"/>
                      <a:pt x="741486" y="664"/>
                      <a:pt x="778029" y="1329"/>
                    </a:cubicBezTo>
                    <a:cubicBezTo>
                      <a:pt x="815237" y="2658"/>
                      <a:pt x="852444" y="7973"/>
                      <a:pt x="888322" y="17275"/>
                    </a:cubicBezTo>
                    <a:cubicBezTo>
                      <a:pt x="926858" y="27241"/>
                      <a:pt x="964730" y="41858"/>
                      <a:pt x="1000608" y="60462"/>
                    </a:cubicBezTo>
                    <a:cubicBezTo>
                      <a:pt x="1040472" y="81723"/>
                      <a:pt x="1076351" y="108300"/>
                      <a:pt x="1107579" y="140191"/>
                    </a:cubicBezTo>
                    <a:cubicBezTo>
                      <a:pt x="1167376" y="201982"/>
                      <a:pt x="1204583" y="271081"/>
                      <a:pt x="1219864" y="346824"/>
                    </a:cubicBezTo>
                    <a:cubicBezTo>
                      <a:pt x="1235146" y="428547"/>
                      <a:pt x="1243119" y="511599"/>
                      <a:pt x="1242455" y="594651"/>
                    </a:cubicBezTo>
                    <a:lnTo>
                      <a:pt x="1242455" y="1651069"/>
                    </a:lnTo>
                    <a:cubicBezTo>
                      <a:pt x="1242455" y="1726812"/>
                      <a:pt x="1237140" y="1803220"/>
                      <a:pt x="1226508" y="1878299"/>
                    </a:cubicBezTo>
                    <a:cubicBezTo>
                      <a:pt x="1217207" y="1947398"/>
                      <a:pt x="1191959" y="2013839"/>
                      <a:pt x="1152759" y="2071643"/>
                    </a:cubicBezTo>
                    <a:cubicBezTo>
                      <a:pt x="1114223" y="2128119"/>
                      <a:pt x="1057083" y="2173299"/>
                      <a:pt x="980011" y="2207848"/>
                    </a:cubicBezTo>
                    <a:cubicBezTo>
                      <a:pt x="902939" y="2242398"/>
                      <a:pt x="799955" y="2259008"/>
                      <a:pt x="669730" y="2259008"/>
                    </a:cubicBezTo>
                    <a:lnTo>
                      <a:pt x="664" y="2259008"/>
                    </a:lnTo>
                    <a:lnTo>
                      <a:pt x="0" y="0"/>
                    </a:lnTo>
                    <a:close/>
                    <a:moveTo>
                      <a:pt x="415923" y="1930123"/>
                    </a:moveTo>
                    <a:lnTo>
                      <a:pt x="604617" y="1930123"/>
                    </a:lnTo>
                    <a:cubicBezTo>
                      <a:pt x="622557" y="1930123"/>
                      <a:pt x="637173" y="1929459"/>
                      <a:pt x="647804" y="1928794"/>
                    </a:cubicBezTo>
                    <a:cubicBezTo>
                      <a:pt x="657106" y="1928130"/>
                      <a:pt x="667072" y="1926137"/>
                      <a:pt x="676374" y="1924143"/>
                    </a:cubicBezTo>
                    <a:cubicBezTo>
                      <a:pt x="714245" y="1917499"/>
                      <a:pt x="743480" y="1906204"/>
                      <a:pt x="764076" y="1888929"/>
                    </a:cubicBezTo>
                    <a:cubicBezTo>
                      <a:pt x="783344" y="1872319"/>
                      <a:pt x="798626" y="1851722"/>
                      <a:pt x="808593" y="1827803"/>
                    </a:cubicBezTo>
                    <a:cubicBezTo>
                      <a:pt x="817894" y="1805213"/>
                      <a:pt x="823209" y="1780630"/>
                      <a:pt x="824538" y="1756047"/>
                    </a:cubicBezTo>
                    <a:cubicBezTo>
                      <a:pt x="825867" y="1731463"/>
                      <a:pt x="825867" y="1708873"/>
                      <a:pt x="825867" y="1686948"/>
                    </a:cubicBezTo>
                    <a:lnTo>
                      <a:pt x="825867" y="560101"/>
                    </a:lnTo>
                    <a:cubicBezTo>
                      <a:pt x="825867" y="508941"/>
                      <a:pt x="821881" y="468412"/>
                      <a:pt x="813243" y="438513"/>
                    </a:cubicBezTo>
                    <a:cubicBezTo>
                      <a:pt x="806599" y="411272"/>
                      <a:pt x="791317" y="387353"/>
                      <a:pt x="770056" y="369414"/>
                    </a:cubicBezTo>
                    <a:cubicBezTo>
                      <a:pt x="747466" y="352139"/>
                      <a:pt x="720225" y="341509"/>
                      <a:pt x="692320" y="337522"/>
                    </a:cubicBezTo>
                    <a:cubicBezTo>
                      <a:pt x="654448" y="331543"/>
                      <a:pt x="616577" y="328885"/>
                      <a:pt x="578040" y="329549"/>
                    </a:cubicBezTo>
                    <a:lnTo>
                      <a:pt x="415923" y="329549"/>
                    </a:lnTo>
                    <a:lnTo>
                      <a:pt x="415923" y="1930123"/>
                    </a:lnTo>
                    <a:close/>
                  </a:path>
                </a:pathLst>
              </a:custGeom>
              <a:solidFill>
                <a:srgbClr val="FF5000"/>
              </a:solidFill>
              <a:ln w="6644" cap="flat">
                <a:noFill/>
                <a:prstDash val="solid"/>
                <a:miter/>
              </a:ln>
            </p:spPr>
            <p:txBody>
              <a:bodyPr rtlCol="0" anchor="ctr"/>
              <a:lstStyle/>
              <a:p>
                <a:endParaRPr lang="en-GB"/>
              </a:p>
            </p:txBody>
          </p:sp>
          <p:sp>
            <p:nvSpPr>
              <p:cNvPr id="27" name="Caldic_L">
                <a:extLst>
                  <a:ext uri="{FF2B5EF4-FFF2-40B4-BE49-F238E27FC236}">
                    <a16:creationId xmlns:a16="http://schemas.microsoft.com/office/drawing/2014/main" id="{1D834E1D-7AF1-8178-22D8-53F96F6D73A3}"/>
                  </a:ext>
                </a:extLst>
              </p:cNvPr>
              <p:cNvSpPr/>
              <p:nvPr/>
            </p:nvSpPr>
            <p:spPr>
              <a:xfrm>
                <a:off x="6684670" y="2300824"/>
                <a:ext cx="949448" cy="2260336"/>
              </a:xfrm>
              <a:custGeom>
                <a:avLst/>
                <a:gdLst>
                  <a:gd name="connsiteX0" fmla="*/ 0 w 949448"/>
                  <a:gd name="connsiteY0" fmla="*/ 0 h 2260336"/>
                  <a:gd name="connsiteX1" fmla="*/ 415923 w 949448"/>
                  <a:gd name="connsiteY1" fmla="*/ 0 h 2260336"/>
                  <a:gd name="connsiteX2" fmla="*/ 415923 w 949448"/>
                  <a:gd name="connsiteY2" fmla="*/ 1917499 h 2260336"/>
                  <a:gd name="connsiteX3" fmla="*/ 949448 w 949448"/>
                  <a:gd name="connsiteY3" fmla="*/ 1917499 h 2260336"/>
                  <a:gd name="connsiteX4" fmla="*/ 949448 w 949448"/>
                  <a:gd name="connsiteY4" fmla="*/ 2260337 h 2260336"/>
                  <a:gd name="connsiteX5" fmla="*/ 0 w 949448"/>
                  <a:gd name="connsiteY5" fmla="*/ 2260337 h 2260336"/>
                  <a:gd name="connsiteX6" fmla="*/ 0 w 949448"/>
                  <a:gd name="connsiteY6" fmla="*/ 0 h 226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9448" h="2260336">
                    <a:moveTo>
                      <a:pt x="0" y="0"/>
                    </a:moveTo>
                    <a:lnTo>
                      <a:pt x="415923" y="0"/>
                    </a:lnTo>
                    <a:lnTo>
                      <a:pt x="415923" y="1917499"/>
                    </a:lnTo>
                    <a:lnTo>
                      <a:pt x="949448" y="1917499"/>
                    </a:lnTo>
                    <a:lnTo>
                      <a:pt x="949448" y="2260337"/>
                    </a:lnTo>
                    <a:lnTo>
                      <a:pt x="0" y="2260337"/>
                    </a:lnTo>
                    <a:lnTo>
                      <a:pt x="0" y="0"/>
                    </a:lnTo>
                    <a:close/>
                  </a:path>
                </a:pathLst>
              </a:custGeom>
              <a:solidFill>
                <a:srgbClr val="FF5000"/>
              </a:solidFill>
              <a:ln w="6644" cap="flat">
                <a:noFill/>
                <a:prstDash val="solid"/>
                <a:miter/>
              </a:ln>
            </p:spPr>
            <p:txBody>
              <a:bodyPr rtlCol="0" anchor="ctr"/>
              <a:lstStyle/>
              <a:p>
                <a:endParaRPr lang="en-GB"/>
              </a:p>
            </p:txBody>
          </p:sp>
          <p:sp>
            <p:nvSpPr>
              <p:cNvPr id="29" name="Caldic_A">
                <a:extLst>
                  <a:ext uri="{FF2B5EF4-FFF2-40B4-BE49-F238E27FC236}">
                    <a16:creationId xmlns:a16="http://schemas.microsoft.com/office/drawing/2014/main" id="{AA27B39D-3227-0786-65FA-80DFBD4374D7}"/>
                  </a:ext>
                </a:extLst>
              </p:cNvPr>
              <p:cNvSpPr/>
              <p:nvPr/>
            </p:nvSpPr>
            <p:spPr>
              <a:xfrm>
                <a:off x="5125955" y="2300824"/>
                <a:ext cx="1338130" cy="2260336"/>
              </a:xfrm>
              <a:custGeom>
                <a:avLst/>
                <a:gdLst>
                  <a:gd name="connsiteX0" fmla="*/ 438513 w 1338130"/>
                  <a:gd name="connsiteY0" fmla="*/ 0 h 2260336"/>
                  <a:gd name="connsiteX1" fmla="*/ 915563 w 1338130"/>
                  <a:gd name="connsiteY1" fmla="*/ 0 h 2260336"/>
                  <a:gd name="connsiteX2" fmla="*/ 1338130 w 1338130"/>
                  <a:gd name="connsiteY2" fmla="*/ 2260337 h 2260336"/>
                  <a:gd name="connsiteX3" fmla="*/ 924200 w 1338130"/>
                  <a:gd name="connsiteY3" fmla="*/ 2260337 h 2260336"/>
                  <a:gd name="connsiteX4" fmla="*/ 869718 w 1338130"/>
                  <a:gd name="connsiteY4" fmla="*/ 1892251 h 2260336"/>
                  <a:gd name="connsiteX5" fmla="*/ 468412 w 1338130"/>
                  <a:gd name="connsiteY5" fmla="*/ 1892251 h 2260336"/>
                  <a:gd name="connsiteX6" fmla="*/ 407286 w 1338130"/>
                  <a:gd name="connsiteY6" fmla="*/ 2260337 h 2260336"/>
                  <a:gd name="connsiteX7" fmla="*/ 0 w 1338130"/>
                  <a:gd name="connsiteY7" fmla="*/ 2260337 h 2260336"/>
                  <a:gd name="connsiteX8" fmla="*/ 438513 w 1338130"/>
                  <a:gd name="connsiteY8" fmla="*/ 0 h 2260336"/>
                  <a:gd name="connsiteX9" fmla="*/ 516914 w 1338130"/>
                  <a:gd name="connsiteY9" fmla="*/ 1553400 h 2260336"/>
                  <a:gd name="connsiteX10" fmla="*/ 827860 w 1338130"/>
                  <a:gd name="connsiteY10" fmla="*/ 1553400 h 2260336"/>
                  <a:gd name="connsiteX11" fmla="*/ 679031 w 1338130"/>
                  <a:gd name="connsiteY11" fmla="*/ 573389 h 2260336"/>
                  <a:gd name="connsiteX12" fmla="*/ 516914 w 1338130"/>
                  <a:gd name="connsiteY12" fmla="*/ 1553400 h 226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8130" h="2260336">
                    <a:moveTo>
                      <a:pt x="438513" y="0"/>
                    </a:moveTo>
                    <a:lnTo>
                      <a:pt x="915563" y="0"/>
                    </a:lnTo>
                    <a:lnTo>
                      <a:pt x="1338130" y="2260337"/>
                    </a:lnTo>
                    <a:lnTo>
                      <a:pt x="924200" y="2260337"/>
                    </a:lnTo>
                    <a:lnTo>
                      <a:pt x="869718" y="1892251"/>
                    </a:lnTo>
                    <a:lnTo>
                      <a:pt x="468412" y="1892251"/>
                    </a:lnTo>
                    <a:lnTo>
                      <a:pt x="407286" y="2260337"/>
                    </a:lnTo>
                    <a:lnTo>
                      <a:pt x="0" y="2260337"/>
                    </a:lnTo>
                    <a:lnTo>
                      <a:pt x="438513" y="0"/>
                    </a:lnTo>
                    <a:close/>
                    <a:moveTo>
                      <a:pt x="516914" y="1553400"/>
                    </a:moveTo>
                    <a:lnTo>
                      <a:pt x="827860" y="1553400"/>
                    </a:lnTo>
                    <a:lnTo>
                      <a:pt x="679031" y="573389"/>
                    </a:lnTo>
                    <a:lnTo>
                      <a:pt x="516914" y="1553400"/>
                    </a:lnTo>
                    <a:close/>
                  </a:path>
                </a:pathLst>
              </a:custGeom>
              <a:solidFill>
                <a:srgbClr val="FF5000"/>
              </a:solidFill>
              <a:ln w="6644" cap="flat">
                <a:noFill/>
                <a:prstDash val="solid"/>
                <a:miter/>
              </a:ln>
            </p:spPr>
            <p:txBody>
              <a:bodyPr rtlCol="0" anchor="ctr"/>
              <a:lstStyle/>
              <a:p>
                <a:endParaRPr lang="en-GB"/>
              </a:p>
            </p:txBody>
          </p:sp>
          <p:sp>
            <p:nvSpPr>
              <p:cNvPr id="30" name="Caldic_C">
                <a:extLst>
                  <a:ext uri="{FF2B5EF4-FFF2-40B4-BE49-F238E27FC236}">
                    <a16:creationId xmlns:a16="http://schemas.microsoft.com/office/drawing/2014/main" id="{6075A397-92F9-2DE1-C595-96DACF6B2BA7}"/>
                  </a:ext>
                </a:extLst>
              </p:cNvPr>
              <p:cNvSpPr/>
              <p:nvPr/>
            </p:nvSpPr>
            <p:spPr>
              <a:xfrm>
                <a:off x="3737944" y="2252987"/>
                <a:ext cx="1233202" cy="2356012"/>
              </a:xfrm>
              <a:custGeom>
                <a:avLst/>
                <a:gdLst>
                  <a:gd name="connsiteX0" fmla="*/ 817944 w 1233202"/>
                  <a:gd name="connsiteY0" fmla="*/ 1754053 h 2356012"/>
                  <a:gd name="connsiteX1" fmla="*/ 814622 w 1233202"/>
                  <a:gd name="connsiteY1" fmla="*/ 1855044 h 2356012"/>
                  <a:gd name="connsiteX2" fmla="*/ 794025 w 1233202"/>
                  <a:gd name="connsiteY2" fmla="*/ 1944740 h 2356012"/>
                  <a:gd name="connsiteX3" fmla="*/ 736885 w 1233202"/>
                  <a:gd name="connsiteY3" fmla="*/ 2008524 h 2356012"/>
                  <a:gd name="connsiteX4" fmla="*/ 623935 w 1233202"/>
                  <a:gd name="connsiteY4" fmla="*/ 2032443 h 2356012"/>
                  <a:gd name="connsiteX5" fmla="*/ 512978 w 1233202"/>
                  <a:gd name="connsiteY5" fmla="*/ 2011846 h 2356012"/>
                  <a:gd name="connsiteX6" fmla="*/ 451187 w 1233202"/>
                  <a:gd name="connsiteY6" fmla="*/ 1956035 h 2356012"/>
                  <a:gd name="connsiteX7" fmla="*/ 423946 w 1233202"/>
                  <a:gd name="connsiteY7" fmla="*/ 1874312 h 2356012"/>
                  <a:gd name="connsiteX8" fmla="*/ 417302 w 1233202"/>
                  <a:gd name="connsiteY8" fmla="*/ 1776643 h 2356012"/>
                  <a:gd name="connsiteX9" fmla="*/ 417302 w 1233202"/>
                  <a:gd name="connsiteY9" fmla="*/ 566745 h 2356012"/>
                  <a:gd name="connsiteX10" fmla="*/ 421953 w 1233202"/>
                  <a:gd name="connsiteY10" fmla="*/ 485022 h 2356012"/>
                  <a:gd name="connsiteX11" fmla="*/ 445872 w 1233202"/>
                  <a:gd name="connsiteY11" fmla="*/ 405293 h 2356012"/>
                  <a:gd name="connsiteX12" fmla="*/ 503011 w 1233202"/>
                  <a:gd name="connsiteY12" fmla="*/ 344167 h 2356012"/>
                  <a:gd name="connsiteX13" fmla="*/ 607989 w 1233202"/>
                  <a:gd name="connsiteY13" fmla="*/ 320248 h 2356012"/>
                  <a:gd name="connsiteX14" fmla="*/ 715624 w 1233202"/>
                  <a:gd name="connsiteY14" fmla="*/ 337522 h 2356012"/>
                  <a:gd name="connsiteX15" fmla="*/ 779408 w 1233202"/>
                  <a:gd name="connsiteY15" fmla="*/ 388682 h 2356012"/>
                  <a:gd name="connsiteX16" fmla="*/ 809307 w 1233202"/>
                  <a:gd name="connsiteY16" fmla="*/ 471734 h 2356012"/>
                  <a:gd name="connsiteX17" fmla="*/ 817279 w 1233202"/>
                  <a:gd name="connsiteY17" fmla="*/ 585349 h 2356012"/>
                  <a:gd name="connsiteX18" fmla="*/ 817279 w 1233202"/>
                  <a:gd name="connsiteY18" fmla="*/ 843806 h 2356012"/>
                  <a:gd name="connsiteX19" fmla="*/ 1233203 w 1233202"/>
                  <a:gd name="connsiteY19" fmla="*/ 843806 h 2356012"/>
                  <a:gd name="connsiteX20" fmla="*/ 1233203 w 1233202"/>
                  <a:gd name="connsiteY20" fmla="*/ 524223 h 2356012"/>
                  <a:gd name="connsiteX21" fmla="*/ 1223901 w 1233202"/>
                  <a:gd name="connsiteY21" fmla="*/ 374065 h 2356012"/>
                  <a:gd name="connsiteX22" fmla="*/ 1156795 w 1233202"/>
                  <a:gd name="connsiteY22" fmla="*/ 201318 h 2356012"/>
                  <a:gd name="connsiteX23" fmla="*/ 974081 w 1233202"/>
                  <a:gd name="connsiteY23" fmla="*/ 59133 h 2356012"/>
                  <a:gd name="connsiteX24" fmla="*/ 618620 w 1233202"/>
                  <a:gd name="connsiteY24" fmla="*/ 0 h 2356012"/>
                  <a:gd name="connsiteX25" fmla="*/ 525602 w 1233202"/>
                  <a:gd name="connsiteY25" fmla="*/ 3322 h 2356012"/>
                  <a:gd name="connsiteX26" fmla="*/ 394048 w 1233202"/>
                  <a:gd name="connsiteY26" fmla="*/ 23919 h 2356012"/>
                  <a:gd name="connsiteX27" fmla="*/ 248541 w 1233202"/>
                  <a:gd name="connsiteY27" fmla="*/ 77072 h 2356012"/>
                  <a:gd name="connsiteX28" fmla="*/ 112336 w 1233202"/>
                  <a:gd name="connsiteY28" fmla="*/ 179392 h 2356012"/>
                  <a:gd name="connsiteX29" fmla="*/ 17989 w 1233202"/>
                  <a:gd name="connsiteY29" fmla="*/ 361441 h 2356012"/>
                  <a:gd name="connsiteX30" fmla="*/ 50 w 1233202"/>
                  <a:gd name="connsiteY30" fmla="*/ 598637 h 2356012"/>
                  <a:gd name="connsiteX31" fmla="*/ 50 w 1233202"/>
                  <a:gd name="connsiteY31" fmla="*/ 1827803 h 2356012"/>
                  <a:gd name="connsiteX32" fmla="*/ 3372 w 1233202"/>
                  <a:gd name="connsiteY32" fmla="*/ 1930123 h 2356012"/>
                  <a:gd name="connsiteX33" fmla="*/ 22640 w 1233202"/>
                  <a:gd name="connsiteY33" fmla="*/ 2040416 h 2356012"/>
                  <a:gd name="connsiteX34" fmla="*/ 75793 w 1233202"/>
                  <a:gd name="connsiteY34" fmla="*/ 2149380 h 2356012"/>
                  <a:gd name="connsiteX35" fmla="*/ 180106 w 1233202"/>
                  <a:gd name="connsiteY35" fmla="*/ 2247049 h 2356012"/>
                  <a:gd name="connsiteX36" fmla="*/ 404014 w 1233202"/>
                  <a:gd name="connsiteY36" fmla="*/ 2333423 h 2356012"/>
                  <a:gd name="connsiteX37" fmla="*/ 618620 w 1233202"/>
                  <a:gd name="connsiteY37" fmla="*/ 2356013 h 2356012"/>
                  <a:gd name="connsiteX38" fmla="*/ 974081 w 1233202"/>
                  <a:gd name="connsiteY38" fmla="*/ 2292229 h 2356012"/>
                  <a:gd name="connsiteX39" fmla="*/ 1156795 w 1233202"/>
                  <a:gd name="connsiteY39" fmla="*/ 2136756 h 2356012"/>
                  <a:gd name="connsiteX40" fmla="*/ 1223901 w 1233202"/>
                  <a:gd name="connsiteY40" fmla="*/ 1946069 h 2356012"/>
                  <a:gd name="connsiteX41" fmla="*/ 1233203 w 1233202"/>
                  <a:gd name="connsiteY41" fmla="*/ 1779965 h 2356012"/>
                  <a:gd name="connsiteX42" fmla="*/ 1233203 w 1233202"/>
                  <a:gd name="connsiteY42" fmla="*/ 1459718 h 2356012"/>
                  <a:gd name="connsiteX43" fmla="*/ 817279 w 1233202"/>
                  <a:gd name="connsiteY43" fmla="*/ 1459718 h 2356012"/>
                  <a:gd name="connsiteX44" fmla="*/ 817279 w 1233202"/>
                  <a:gd name="connsiteY44" fmla="*/ 1754053 h 235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33202" h="2356012">
                    <a:moveTo>
                      <a:pt x="817944" y="1754053"/>
                    </a:moveTo>
                    <a:cubicBezTo>
                      <a:pt x="817944" y="1787938"/>
                      <a:pt x="816615" y="1821824"/>
                      <a:pt x="814622" y="1855044"/>
                    </a:cubicBezTo>
                    <a:cubicBezTo>
                      <a:pt x="813293" y="1885607"/>
                      <a:pt x="805985" y="1916170"/>
                      <a:pt x="794025" y="1944740"/>
                    </a:cubicBezTo>
                    <a:cubicBezTo>
                      <a:pt x="782065" y="1971317"/>
                      <a:pt x="762133" y="1993907"/>
                      <a:pt x="736885" y="2008524"/>
                    </a:cubicBezTo>
                    <a:cubicBezTo>
                      <a:pt x="710309" y="2024470"/>
                      <a:pt x="672437" y="2032443"/>
                      <a:pt x="623935" y="2032443"/>
                    </a:cubicBezTo>
                    <a:cubicBezTo>
                      <a:pt x="577426" y="2032443"/>
                      <a:pt x="540219" y="2025799"/>
                      <a:pt x="512978" y="2011846"/>
                    </a:cubicBezTo>
                    <a:cubicBezTo>
                      <a:pt x="487066" y="1999887"/>
                      <a:pt x="465804" y="1979954"/>
                      <a:pt x="451187" y="1956035"/>
                    </a:cubicBezTo>
                    <a:cubicBezTo>
                      <a:pt x="436570" y="1930788"/>
                      <a:pt x="427933" y="1902882"/>
                      <a:pt x="423946" y="1874312"/>
                    </a:cubicBezTo>
                    <a:cubicBezTo>
                      <a:pt x="419295" y="1841756"/>
                      <a:pt x="417302" y="1809200"/>
                      <a:pt x="417302" y="1776643"/>
                    </a:cubicBezTo>
                    <a:lnTo>
                      <a:pt x="417302" y="566745"/>
                    </a:lnTo>
                    <a:cubicBezTo>
                      <a:pt x="417302" y="539504"/>
                      <a:pt x="418631" y="512263"/>
                      <a:pt x="421953" y="485022"/>
                    </a:cubicBezTo>
                    <a:cubicBezTo>
                      <a:pt x="424611" y="457117"/>
                      <a:pt x="433248" y="429876"/>
                      <a:pt x="445872" y="405293"/>
                    </a:cubicBezTo>
                    <a:cubicBezTo>
                      <a:pt x="459160" y="380045"/>
                      <a:pt x="479093" y="359448"/>
                      <a:pt x="503011" y="344167"/>
                    </a:cubicBezTo>
                    <a:cubicBezTo>
                      <a:pt x="528259" y="328221"/>
                      <a:pt x="563473" y="320248"/>
                      <a:pt x="607989" y="320248"/>
                    </a:cubicBezTo>
                    <a:cubicBezTo>
                      <a:pt x="652505" y="320248"/>
                      <a:pt x="688383" y="326227"/>
                      <a:pt x="715624" y="337522"/>
                    </a:cubicBezTo>
                    <a:cubicBezTo>
                      <a:pt x="741536" y="347489"/>
                      <a:pt x="764126" y="365428"/>
                      <a:pt x="779408" y="388682"/>
                    </a:cubicBezTo>
                    <a:cubicBezTo>
                      <a:pt x="795354" y="413930"/>
                      <a:pt x="805320" y="442500"/>
                      <a:pt x="809307" y="471734"/>
                    </a:cubicBezTo>
                    <a:cubicBezTo>
                      <a:pt x="814622" y="509606"/>
                      <a:pt x="817944" y="547477"/>
                      <a:pt x="817279" y="585349"/>
                    </a:cubicBezTo>
                    <a:lnTo>
                      <a:pt x="817279" y="843806"/>
                    </a:lnTo>
                    <a:lnTo>
                      <a:pt x="1233203" y="843806"/>
                    </a:lnTo>
                    <a:lnTo>
                      <a:pt x="1233203" y="524223"/>
                    </a:lnTo>
                    <a:cubicBezTo>
                      <a:pt x="1232538" y="473727"/>
                      <a:pt x="1229216" y="423896"/>
                      <a:pt x="1223901" y="374065"/>
                    </a:cubicBezTo>
                    <a:cubicBezTo>
                      <a:pt x="1216592" y="311610"/>
                      <a:pt x="1193338" y="252477"/>
                      <a:pt x="1156795" y="201318"/>
                    </a:cubicBezTo>
                    <a:cubicBezTo>
                      <a:pt x="1118259" y="146171"/>
                      <a:pt x="1057797" y="98333"/>
                      <a:pt x="974081" y="59133"/>
                    </a:cubicBezTo>
                    <a:cubicBezTo>
                      <a:pt x="890365" y="19932"/>
                      <a:pt x="772099" y="0"/>
                      <a:pt x="618620" y="0"/>
                    </a:cubicBezTo>
                    <a:cubicBezTo>
                      <a:pt x="597358" y="0"/>
                      <a:pt x="566131" y="1329"/>
                      <a:pt x="525602" y="3322"/>
                    </a:cubicBezTo>
                    <a:cubicBezTo>
                      <a:pt x="481086" y="5980"/>
                      <a:pt x="437235" y="13288"/>
                      <a:pt x="394048" y="23919"/>
                    </a:cubicBezTo>
                    <a:cubicBezTo>
                      <a:pt x="344217" y="37207"/>
                      <a:pt x="295050" y="54482"/>
                      <a:pt x="248541" y="77072"/>
                    </a:cubicBezTo>
                    <a:cubicBezTo>
                      <a:pt x="196717" y="101655"/>
                      <a:pt x="150208" y="136869"/>
                      <a:pt x="112336" y="179392"/>
                    </a:cubicBezTo>
                    <a:cubicBezTo>
                      <a:pt x="61176" y="234538"/>
                      <a:pt x="29948" y="295664"/>
                      <a:pt x="17989" y="361441"/>
                    </a:cubicBezTo>
                    <a:cubicBezTo>
                      <a:pt x="5365" y="439842"/>
                      <a:pt x="-614" y="518907"/>
                      <a:pt x="50" y="598637"/>
                    </a:cubicBezTo>
                    <a:lnTo>
                      <a:pt x="50" y="1827803"/>
                    </a:lnTo>
                    <a:cubicBezTo>
                      <a:pt x="50" y="1859695"/>
                      <a:pt x="1379" y="1894245"/>
                      <a:pt x="3372" y="1930123"/>
                    </a:cubicBezTo>
                    <a:cubicBezTo>
                      <a:pt x="5365" y="1967330"/>
                      <a:pt x="12010" y="2004538"/>
                      <a:pt x="22640" y="2040416"/>
                    </a:cubicBezTo>
                    <a:cubicBezTo>
                      <a:pt x="33935" y="2079616"/>
                      <a:pt x="51874" y="2116159"/>
                      <a:pt x="75793" y="2149380"/>
                    </a:cubicBezTo>
                    <a:cubicBezTo>
                      <a:pt x="104363" y="2187916"/>
                      <a:pt x="139577" y="2221136"/>
                      <a:pt x="180106" y="2247049"/>
                    </a:cubicBezTo>
                    <a:cubicBezTo>
                      <a:pt x="248541" y="2290236"/>
                      <a:pt x="324284" y="2320134"/>
                      <a:pt x="404014" y="2333423"/>
                    </a:cubicBezTo>
                    <a:cubicBezTo>
                      <a:pt x="474442" y="2347375"/>
                      <a:pt x="546198" y="2354684"/>
                      <a:pt x="618620" y="2356013"/>
                    </a:cubicBezTo>
                    <a:cubicBezTo>
                      <a:pt x="772099" y="2356013"/>
                      <a:pt x="891029" y="2334751"/>
                      <a:pt x="974081" y="2292229"/>
                    </a:cubicBezTo>
                    <a:cubicBezTo>
                      <a:pt x="1057133" y="2249706"/>
                      <a:pt x="1118259" y="2197882"/>
                      <a:pt x="1156795" y="2136756"/>
                    </a:cubicBezTo>
                    <a:cubicBezTo>
                      <a:pt x="1194002" y="2079616"/>
                      <a:pt x="1217257" y="2014504"/>
                      <a:pt x="1223901" y="1946069"/>
                    </a:cubicBezTo>
                    <a:cubicBezTo>
                      <a:pt x="1230545" y="1879628"/>
                      <a:pt x="1233203" y="1824481"/>
                      <a:pt x="1233203" y="1779965"/>
                    </a:cubicBezTo>
                    <a:lnTo>
                      <a:pt x="1233203" y="1459718"/>
                    </a:lnTo>
                    <a:lnTo>
                      <a:pt x="817279" y="1459718"/>
                    </a:lnTo>
                    <a:lnTo>
                      <a:pt x="817279" y="1754053"/>
                    </a:lnTo>
                    <a:close/>
                  </a:path>
                </a:pathLst>
              </a:custGeom>
              <a:solidFill>
                <a:srgbClr val="FF5000"/>
              </a:solidFill>
              <a:ln w="6644" cap="flat">
                <a:noFill/>
                <a:prstDash val="solid"/>
                <a:miter/>
              </a:ln>
            </p:spPr>
            <p:txBody>
              <a:bodyPr rtlCol="0" anchor="ctr"/>
              <a:lstStyle/>
              <a:p>
                <a:endParaRPr lang="en-GB"/>
              </a:p>
            </p:txBody>
          </p:sp>
        </p:grpSp>
        <p:sp>
          <p:nvSpPr>
            <p:cNvPr id="33" name="Beeldmerk">
              <a:extLst>
                <a:ext uri="{FF2B5EF4-FFF2-40B4-BE49-F238E27FC236}">
                  <a16:creationId xmlns:a16="http://schemas.microsoft.com/office/drawing/2014/main" id="{B1E8E733-5F41-D0E6-E3DE-7077E07CD100}"/>
                </a:ext>
              </a:extLst>
            </p:cNvPr>
            <p:cNvSpPr/>
            <p:nvPr/>
          </p:nvSpPr>
          <p:spPr>
            <a:xfrm>
              <a:off x="564752" y="2300824"/>
              <a:ext cx="2609818" cy="2260336"/>
            </a:xfrm>
            <a:custGeom>
              <a:avLst/>
              <a:gdLst>
                <a:gd name="connsiteX0" fmla="*/ 1631137 w 2609818"/>
                <a:gd name="connsiteY0" fmla="*/ 678367 h 2260336"/>
                <a:gd name="connsiteX1" fmla="*/ 2251035 w 2609818"/>
                <a:gd name="connsiteY1" fmla="*/ 1752060 h 2260336"/>
                <a:gd name="connsiteX2" fmla="*/ 1957364 w 2609818"/>
                <a:gd name="connsiteY2" fmla="*/ 2260337 h 2260336"/>
                <a:gd name="connsiteX3" fmla="*/ 652455 w 2609818"/>
                <a:gd name="connsiteY3" fmla="*/ 2260337 h 2260336"/>
                <a:gd name="connsiteX4" fmla="*/ 358784 w 2609818"/>
                <a:gd name="connsiteY4" fmla="*/ 1752060 h 2260336"/>
                <a:gd name="connsiteX5" fmla="*/ 1728806 w 2609818"/>
                <a:gd name="connsiteY5" fmla="*/ 1752060 h 2260336"/>
                <a:gd name="connsiteX6" fmla="*/ 1370022 w 2609818"/>
                <a:gd name="connsiteY6" fmla="*/ 1130833 h 2260336"/>
                <a:gd name="connsiteX7" fmla="*/ 1631137 w 2609818"/>
                <a:gd name="connsiteY7" fmla="*/ 678367 h 2260336"/>
                <a:gd name="connsiteX8" fmla="*/ 1272353 w 2609818"/>
                <a:gd name="connsiteY8" fmla="*/ 1073693 h 2260336"/>
                <a:gd name="connsiteX9" fmla="*/ 1631137 w 2609818"/>
                <a:gd name="connsiteY9" fmla="*/ 452466 h 2260336"/>
                <a:gd name="connsiteX10" fmla="*/ 2316148 w 2609818"/>
                <a:gd name="connsiteY10" fmla="*/ 1639110 h 2260336"/>
                <a:gd name="connsiteX11" fmla="*/ 2609819 w 2609818"/>
                <a:gd name="connsiteY11" fmla="*/ 1130833 h 2260336"/>
                <a:gd name="connsiteX12" fmla="*/ 1957364 w 2609818"/>
                <a:gd name="connsiteY12" fmla="*/ 664 h 2260336"/>
                <a:gd name="connsiteX13" fmla="*/ 1370022 w 2609818"/>
                <a:gd name="connsiteY13" fmla="*/ 664 h 2260336"/>
                <a:gd name="connsiteX14" fmla="*/ 750788 w 2609818"/>
                <a:gd name="connsiteY14" fmla="*/ 1073693 h 2260336"/>
                <a:gd name="connsiteX15" fmla="*/ 1272353 w 2609818"/>
                <a:gd name="connsiteY15" fmla="*/ 1073693 h 2260336"/>
                <a:gd name="connsiteX16" fmla="*/ 1272353 w 2609818"/>
                <a:gd name="connsiteY16" fmla="*/ 1186644 h 2260336"/>
                <a:gd name="connsiteX17" fmla="*/ 554786 w 2609818"/>
                <a:gd name="connsiteY17" fmla="*/ 1186644 h 2260336"/>
                <a:gd name="connsiteX18" fmla="*/ 1239797 w 2609818"/>
                <a:gd name="connsiteY18" fmla="*/ 0 h 2260336"/>
                <a:gd name="connsiteX19" fmla="*/ 652455 w 2609818"/>
                <a:gd name="connsiteY19" fmla="*/ 0 h 2260336"/>
                <a:gd name="connsiteX20" fmla="*/ 0 w 2609818"/>
                <a:gd name="connsiteY20" fmla="*/ 1130168 h 2260336"/>
                <a:gd name="connsiteX21" fmla="*/ 293671 w 2609818"/>
                <a:gd name="connsiteY21" fmla="*/ 1638445 h 2260336"/>
                <a:gd name="connsiteX22" fmla="*/ 1533468 w 2609818"/>
                <a:gd name="connsiteY22" fmla="*/ 1638445 h 2260336"/>
                <a:gd name="connsiteX23" fmla="*/ 1272353 w 2609818"/>
                <a:gd name="connsiteY23" fmla="*/ 1186644 h 226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09818" h="2260336">
                  <a:moveTo>
                    <a:pt x="1631137" y="678367"/>
                  </a:moveTo>
                  <a:lnTo>
                    <a:pt x="2251035" y="1752060"/>
                  </a:lnTo>
                  <a:lnTo>
                    <a:pt x="1957364" y="2260337"/>
                  </a:lnTo>
                  <a:lnTo>
                    <a:pt x="652455" y="2260337"/>
                  </a:lnTo>
                  <a:lnTo>
                    <a:pt x="358784" y="1752060"/>
                  </a:lnTo>
                  <a:lnTo>
                    <a:pt x="1728806" y="1752060"/>
                  </a:lnTo>
                  <a:lnTo>
                    <a:pt x="1370022" y="1130833"/>
                  </a:lnTo>
                  <a:lnTo>
                    <a:pt x="1631137" y="678367"/>
                  </a:lnTo>
                  <a:close/>
                  <a:moveTo>
                    <a:pt x="1272353" y="1073693"/>
                  </a:moveTo>
                  <a:lnTo>
                    <a:pt x="1631137" y="452466"/>
                  </a:lnTo>
                  <a:lnTo>
                    <a:pt x="2316148" y="1639110"/>
                  </a:lnTo>
                  <a:lnTo>
                    <a:pt x="2609819" y="1130833"/>
                  </a:lnTo>
                  <a:lnTo>
                    <a:pt x="1957364" y="664"/>
                  </a:lnTo>
                  <a:lnTo>
                    <a:pt x="1370022" y="664"/>
                  </a:lnTo>
                  <a:lnTo>
                    <a:pt x="750788" y="1073693"/>
                  </a:lnTo>
                  <a:lnTo>
                    <a:pt x="1272353" y="1073693"/>
                  </a:lnTo>
                  <a:close/>
                  <a:moveTo>
                    <a:pt x="1272353" y="1186644"/>
                  </a:moveTo>
                  <a:lnTo>
                    <a:pt x="554786" y="1186644"/>
                  </a:lnTo>
                  <a:lnTo>
                    <a:pt x="1239797" y="0"/>
                  </a:lnTo>
                  <a:lnTo>
                    <a:pt x="652455" y="0"/>
                  </a:lnTo>
                  <a:lnTo>
                    <a:pt x="0" y="1130168"/>
                  </a:lnTo>
                  <a:lnTo>
                    <a:pt x="293671" y="1638445"/>
                  </a:lnTo>
                  <a:lnTo>
                    <a:pt x="1533468" y="1638445"/>
                  </a:lnTo>
                  <a:lnTo>
                    <a:pt x="1272353" y="1186644"/>
                  </a:lnTo>
                  <a:close/>
                </a:path>
              </a:pathLst>
            </a:custGeom>
            <a:solidFill>
              <a:srgbClr val="FF5000"/>
            </a:solidFill>
            <a:ln w="6644" cap="flat">
              <a:noFill/>
              <a:prstDash val="solid"/>
              <a:miter/>
            </a:ln>
          </p:spPr>
          <p:txBody>
            <a:bodyPr rtlCol="0" anchor="ctr"/>
            <a:lstStyle/>
            <a:p>
              <a:endParaRPr lang="en-GB"/>
            </a:p>
          </p:txBody>
        </p:sp>
      </p:grpSp>
      <p:sp>
        <p:nvSpPr>
          <p:cNvPr id="2" name="Tijdelijke aanduiding voor titel 1"/>
          <p:cNvSpPr>
            <a:spLocks noGrp="1"/>
          </p:cNvSpPr>
          <p:nvPr>
            <p:ph type="title"/>
          </p:nvPr>
        </p:nvSpPr>
        <p:spPr>
          <a:xfrm>
            <a:off x="552451" y="532006"/>
            <a:ext cx="11088687" cy="328039"/>
          </a:xfrm>
          <a:prstGeom prst="rect">
            <a:avLst/>
          </a:prstGeom>
          <a:noFill/>
          <a:effectLst/>
        </p:spPr>
        <p:txBody>
          <a:bodyPr vert="horz" wrap="square" lIns="0" tIns="0" rIns="0" bIns="0" rtlCol="0" anchor="t">
            <a:noAutofit/>
          </a:bodyPr>
          <a:lstStyle/>
          <a:p>
            <a:r>
              <a:rPr lang="en-GB" noProof="0"/>
              <a:t>Add a slide title, max. 1 line</a:t>
            </a:r>
          </a:p>
        </p:txBody>
      </p:sp>
      <p:sp>
        <p:nvSpPr>
          <p:cNvPr id="3" name="Tijdelijke aanduiding voor tekst 2"/>
          <p:cNvSpPr>
            <a:spLocks noGrp="1"/>
          </p:cNvSpPr>
          <p:nvPr>
            <p:ph type="body" idx="1"/>
          </p:nvPr>
        </p:nvSpPr>
        <p:spPr>
          <a:xfrm>
            <a:off x="552451" y="1127090"/>
            <a:ext cx="11088687" cy="5181635"/>
          </a:xfrm>
          <a:prstGeom prst="rect">
            <a:avLst/>
          </a:prstGeom>
        </p:spPr>
        <p:txBody>
          <a:bodyPr vert="horz" lIns="0" tIns="0" rIns="0" bIns="0" rtlCol="0">
            <a:noAutofit/>
          </a:bodyPr>
          <a:lstStyle/>
          <a:p>
            <a:pPr lvl="0"/>
            <a:r>
              <a:rPr lang="en-GB" noProof="0"/>
              <a:t>Bullet</a:t>
            </a:r>
          </a:p>
          <a:p>
            <a:pPr lvl="1"/>
            <a:r>
              <a:rPr lang="en-GB" noProof="0"/>
              <a:t>Sub-bullet</a:t>
            </a:r>
          </a:p>
          <a:p>
            <a:pPr lvl="2"/>
            <a:r>
              <a:rPr lang="en-GB" noProof="0"/>
              <a:t>Plain text</a:t>
            </a:r>
          </a:p>
          <a:p>
            <a:pPr lvl="3"/>
            <a:r>
              <a:rPr lang="en-GB" noProof="0"/>
              <a:t>Subtitle</a:t>
            </a:r>
          </a:p>
          <a:p>
            <a:pPr lvl="4"/>
            <a:r>
              <a:rPr lang="en-GB" noProof="0"/>
              <a:t>Numerical bullet</a:t>
            </a:r>
          </a:p>
          <a:p>
            <a:pPr lvl="5"/>
            <a:r>
              <a:rPr lang="en-GB" noProof="0"/>
              <a:t>Bullet</a:t>
            </a:r>
          </a:p>
          <a:p>
            <a:pPr lvl="6"/>
            <a:r>
              <a:rPr lang="en-GB" noProof="0"/>
              <a:t>Sub-bullet</a:t>
            </a:r>
          </a:p>
          <a:p>
            <a:pPr lvl="7"/>
            <a:r>
              <a:rPr lang="en-GB" noProof="0"/>
              <a:t>Plain text</a:t>
            </a:r>
          </a:p>
          <a:p>
            <a:pPr lvl="8"/>
            <a:r>
              <a:rPr lang="en-GB" noProof="0"/>
              <a:t>Subtitle bold</a:t>
            </a:r>
          </a:p>
        </p:txBody>
      </p:sp>
      <p:sp>
        <p:nvSpPr>
          <p:cNvPr id="4" name="Slide Number Placeholder 3">
            <a:extLst>
              <a:ext uri="{FF2B5EF4-FFF2-40B4-BE49-F238E27FC236}">
                <a16:creationId xmlns:a16="http://schemas.microsoft.com/office/drawing/2014/main" id="{71F0F377-869A-43DC-A92E-9FDC93366FD0}"/>
              </a:ext>
            </a:extLst>
          </p:cNvPr>
          <p:cNvSpPr>
            <a:spLocks noGrp="1"/>
          </p:cNvSpPr>
          <p:nvPr>
            <p:ph type="sldNum" sz="quarter" idx="4"/>
          </p:nvPr>
        </p:nvSpPr>
        <p:spPr>
          <a:xfrm>
            <a:off x="11222028" y="6481252"/>
            <a:ext cx="419110" cy="231068"/>
          </a:xfrm>
          <a:prstGeom prst="rect">
            <a:avLst/>
          </a:prstGeom>
        </p:spPr>
        <p:txBody>
          <a:bodyPr vert="horz" lIns="0" tIns="0" rIns="0" bIns="0" rtlCol="0" anchor="ctr"/>
          <a:lstStyle>
            <a:lvl1pPr algn="r">
              <a:defRPr sz="1050">
                <a:solidFill>
                  <a:schemeClr val="tx1">
                    <a:tint val="75000"/>
                  </a:schemeClr>
                </a:solidFill>
              </a:defRPr>
            </a:lvl1pPr>
          </a:lstStyle>
          <a:p>
            <a:fld id="{1F1AB7F0-A183-4E3D-883C-6313A1D5ED02}" type="slidenum">
              <a:rPr lang="en-GB" smtClean="0"/>
              <a:pPr/>
              <a:t>‹#›</a:t>
            </a:fld>
            <a:endParaRPr lang="en-GB"/>
          </a:p>
        </p:txBody>
      </p:sp>
      <p:sp>
        <p:nvSpPr>
          <p:cNvPr id="7" name="TextBox 6">
            <a:extLst>
              <a:ext uri="{FF2B5EF4-FFF2-40B4-BE49-F238E27FC236}">
                <a16:creationId xmlns:a16="http://schemas.microsoft.com/office/drawing/2014/main" id="{3B6DCC8C-94B8-30F0-5B60-4CD569E9E8D7}"/>
              </a:ext>
            </a:extLst>
          </p:cNvPr>
          <p:cNvSpPr txBox="1"/>
          <p:nvPr>
            <p:extLst>
              <p:ext uri="{1162E1C5-73C7-4A58-AE30-91384D911F3F}">
                <p184:classification xmlns:p184="http://schemas.microsoft.com/office/powerpoint/2018/4/main" val="ftr"/>
              </p:ext>
            </p:extLst>
          </p:nvPr>
        </p:nvSpPr>
        <p:spPr>
          <a:xfrm>
            <a:off x="5788787" y="6736080"/>
            <a:ext cx="636588" cy="121920"/>
          </a:xfrm>
          <a:prstGeom prst="rect">
            <a:avLst/>
          </a:prstGeom>
        </p:spPr>
        <p:txBody>
          <a:bodyPr horzOverflow="overflow" lIns="0" tIns="0" rIns="0" bIns="0">
            <a:spAutoFit/>
          </a:bodyPr>
          <a:lstStyle/>
          <a:p>
            <a:pPr algn="l"/>
            <a:r>
              <a:rPr lang="en-US" sz="800">
                <a:solidFill>
                  <a:srgbClr val="000000"/>
                </a:solidFill>
                <a:latin typeface="Calibri" panose="020F0502020204030204" pitchFamily="34" charset="0"/>
                <a:cs typeface="Calibri" panose="020F0502020204030204" pitchFamily="34" charset="0"/>
              </a:rPr>
              <a:t>- Confidential -</a:t>
            </a:r>
          </a:p>
        </p:txBody>
      </p:sp>
    </p:spTree>
    <p:extLst>
      <p:ext uri="{BB962C8B-B14F-4D97-AF65-F5344CB8AC3E}">
        <p14:creationId xmlns:p14="http://schemas.microsoft.com/office/powerpoint/2010/main" val="2831793803"/>
      </p:ext>
    </p:extLst>
  </p:cSld>
  <p:clrMap bg1="lt1" tx1="dk1" bg2="lt2" tx2="dk2" accent1="accent1" accent2="accent2" accent3="accent3" accent4="accent4" accent5="accent5" accent6="accent6" hlink="hlink" folHlink="folHlink"/>
  <p:sldLayoutIdLst>
    <p:sldLayoutId id="2147483717" r:id="rId1"/>
    <p:sldLayoutId id="2147483776" r:id="rId2"/>
    <p:sldLayoutId id="2147483769" r:id="rId3"/>
    <p:sldLayoutId id="2147483781" r:id="rId4"/>
    <p:sldLayoutId id="2147483766" r:id="rId5"/>
    <p:sldLayoutId id="2147483728" r:id="rId6"/>
    <p:sldLayoutId id="2147483777" r:id="rId7"/>
    <p:sldLayoutId id="2147483782" r:id="rId8"/>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914400" rtl="0" eaLnBrk="1" latinLnBrk="0" hangingPunct="1">
        <a:lnSpc>
          <a:spcPct val="80000"/>
        </a:lnSpc>
        <a:spcBef>
          <a:spcPct val="0"/>
        </a:spcBef>
        <a:buNone/>
        <a:defRPr sz="2600" b="0" kern="1200">
          <a:solidFill>
            <a:schemeClr val="accent1"/>
          </a:solidFill>
          <a:latin typeface="+mj-lt"/>
          <a:ea typeface="+mj-ea"/>
          <a:cs typeface="+mj-cs"/>
        </a:defRPr>
      </a:lvl1pPr>
    </p:titleStyle>
    <p:bodyStyle>
      <a:lvl1pPr marL="261938" indent="-261938" algn="l" defTabSz="719138" rtl="0" eaLnBrk="1" latinLnBrk="0" hangingPunct="1">
        <a:lnSpc>
          <a:spcPct val="80000"/>
        </a:lnSpc>
        <a:spcBef>
          <a:spcPts val="400"/>
        </a:spcBef>
        <a:spcAft>
          <a:spcPts val="400"/>
        </a:spcAft>
        <a:buClr>
          <a:schemeClr val="accent1"/>
        </a:buClr>
        <a:buSzPct val="120000"/>
        <a:buFont typeface="Arial" panose="020B0604020202020204" pitchFamily="34" charset="0"/>
        <a:buChar char="•"/>
        <a:defRPr sz="1600" kern="1200">
          <a:solidFill>
            <a:schemeClr val="tx1"/>
          </a:solidFill>
          <a:latin typeface="+mn-lt"/>
          <a:ea typeface="+mn-ea"/>
          <a:cs typeface="+mn-cs"/>
        </a:defRPr>
      </a:lvl1pPr>
      <a:lvl2pPr marL="536575" indent="-274638" algn="l" defTabSz="719138" rtl="0" eaLnBrk="1" latinLnBrk="0" hangingPunct="1">
        <a:lnSpc>
          <a:spcPct val="80000"/>
        </a:lnSpc>
        <a:spcBef>
          <a:spcPts val="400"/>
        </a:spcBef>
        <a:spcAft>
          <a:spcPts val="400"/>
        </a:spcAft>
        <a:buClr>
          <a:schemeClr val="accent1"/>
        </a:buClr>
        <a:buSzPct val="120000"/>
        <a:buFont typeface="Calibri Light" panose="020F0302020204030204" pitchFamily="34" charset="0"/>
        <a:buChar char="─"/>
        <a:defRPr sz="1600" i="0" kern="1200">
          <a:solidFill>
            <a:schemeClr val="tx1"/>
          </a:solidFill>
          <a:latin typeface="+mn-lt"/>
          <a:ea typeface="+mn-ea"/>
          <a:cs typeface="+mn-cs"/>
        </a:defRPr>
      </a:lvl2pPr>
      <a:lvl3pPr marL="0" indent="0" algn="l" defTabSz="719138" rtl="0" eaLnBrk="1" latinLnBrk="0" hangingPunct="1">
        <a:lnSpc>
          <a:spcPct val="80000"/>
        </a:lnSpc>
        <a:spcBef>
          <a:spcPts val="400"/>
        </a:spcBef>
        <a:spcAft>
          <a:spcPts val="400"/>
        </a:spcAft>
        <a:buClr>
          <a:srgbClr val="0070C0"/>
        </a:buClr>
        <a:buSzPct val="85000"/>
        <a:buFont typeface="Arial" panose="020B0604020202020204" pitchFamily="34" charset="0"/>
        <a:buNone/>
        <a:defRPr sz="1600" i="0" kern="1200">
          <a:solidFill>
            <a:schemeClr val="tx1"/>
          </a:solidFill>
          <a:latin typeface="+mn-lt"/>
          <a:ea typeface="+mn-ea"/>
          <a:cs typeface="+mn-cs"/>
        </a:defRPr>
      </a:lvl3pPr>
      <a:lvl4pPr marL="0" indent="0" algn="l" defTabSz="719138" rtl="0" eaLnBrk="1" latinLnBrk="0" hangingPunct="1">
        <a:lnSpc>
          <a:spcPct val="80000"/>
        </a:lnSpc>
        <a:spcBef>
          <a:spcPts val="400"/>
        </a:spcBef>
        <a:spcAft>
          <a:spcPts val="400"/>
        </a:spcAft>
        <a:buFont typeface="Arial" panose="020B0604020202020204" pitchFamily="34" charset="0"/>
        <a:buNone/>
        <a:defRPr sz="2000" b="0" kern="1200" cap="none" spc="30" baseline="0">
          <a:solidFill>
            <a:schemeClr val="tx1"/>
          </a:solidFill>
          <a:latin typeface="+mj-lt"/>
          <a:ea typeface="+mn-ea"/>
          <a:cs typeface="Calibri" panose="020F0502020204030204" pitchFamily="34" charset="0"/>
        </a:defRPr>
      </a:lvl4pPr>
      <a:lvl5pPr marL="271463" indent="-271463" algn="l" defTabSz="719138" rtl="0" eaLnBrk="1" latinLnBrk="0" hangingPunct="1">
        <a:lnSpc>
          <a:spcPct val="80000"/>
        </a:lnSpc>
        <a:spcBef>
          <a:spcPts val="400"/>
        </a:spcBef>
        <a:spcAft>
          <a:spcPts val="400"/>
        </a:spcAft>
        <a:buClr>
          <a:schemeClr val="accent1"/>
        </a:buClr>
        <a:buFont typeface="+mj-lt"/>
        <a:buAutoNum type="arabicPeriod"/>
        <a:defRPr sz="1600" i="0" kern="1200">
          <a:solidFill>
            <a:schemeClr val="tx1"/>
          </a:solidFill>
          <a:latin typeface="+mn-lt"/>
          <a:ea typeface="+mn-ea"/>
          <a:cs typeface="+mn-cs"/>
        </a:defRPr>
      </a:lvl5pPr>
      <a:lvl6pPr marL="261938" indent="-261938" algn="l" defTabSz="914400" rtl="0" eaLnBrk="1" latinLnBrk="0" hangingPunct="1">
        <a:lnSpc>
          <a:spcPct val="80000"/>
        </a:lnSpc>
        <a:spcBef>
          <a:spcPts val="400"/>
        </a:spcBef>
        <a:spcAft>
          <a:spcPts val="400"/>
        </a:spcAft>
        <a:buClr>
          <a:schemeClr val="accent1"/>
        </a:buClr>
        <a:buSzPct val="120000"/>
        <a:buFont typeface="Arial" panose="020B0604020202020204" pitchFamily="34" charset="0"/>
        <a:buChar char="•"/>
        <a:defRPr sz="1600" b="0" i="0" kern="1200">
          <a:solidFill>
            <a:schemeClr val="tx1"/>
          </a:solidFill>
          <a:latin typeface="+mn-lt"/>
          <a:ea typeface="+mn-ea"/>
          <a:cs typeface="+mn-cs"/>
        </a:defRPr>
      </a:lvl6pPr>
      <a:lvl7pPr marL="536575" indent="-274638" algn="l" defTabSz="914400" rtl="0" eaLnBrk="1" latinLnBrk="0" hangingPunct="1">
        <a:lnSpc>
          <a:spcPct val="80000"/>
        </a:lnSpc>
        <a:spcBef>
          <a:spcPts val="400"/>
        </a:spcBef>
        <a:spcAft>
          <a:spcPts val="400"/>
        </a:spcAft>
        <a:buClr>
          <a:schemeClr val="accent1"/>
        </a:buClr>
        <a:buSzPct val="120000"/>
        <a:buFont typeface="Calibri Light" panose="020F0302020204030204" pitchFamily="34" charset="0"/>
        <a:buChar char="─"/>
        <a:defRPr sz="1600" b="0" i="0" kern="1200">
          <a:solidFill>
            <a:schemeClr val="tx1"/>
          </a:solidFill>
          <a:latin typeface="+mn-lt"/>
          <a:ea typeface="+mn-ea"/>
          <a:cs typeface="+mn-cs"/>
        </a:defRPr>
      </a:lvl7pPr>
      <a:lvl8pPr marL="0" indent="0" algn="l" defTabSz="914400" rtl="0" eaLnBrk="1" latinLnBrk="0" hangingPunct="1">
        <a:lnSpc>
          <a:spcPct val="8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80000"/>
        </a:lnSpc>
        <a:spcBef>
          <a:spcPts val="400"/>
        </a:spcBef>
        <a:spcAft>
          <a:spcPts val="400"/>
        </a:spcAft>
        <a:buFont typeface="Arial" panose="020B0604020202020204" pitchFamily="34" charset="0"/>
        <a:buNone/>
        <a:defRPr sz="2000" b="1" kern="1200" cap="none" baseline="0">
          <a:solidFill>
            <a:schemeClr val="tx1"/>
          </a:solidFill>
          <a:latin typeface="+mj-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709" userDrawn="1">
          <p15:clr>
            <a:srgbClr val="F26B43"/>
          </p15:clr>
        </p15:guide>
        <p15:guide id="3" orient="horz" pos="1002" userDrawn="1">
          <p15:clr>
            <a:srgbClr val="F26B43"/>
          </p15:clr>
        </p15:guide>
        <p15:guide id="5" orient="horz" pos="3974" userDrawn="1">
          <p15:clr>
            <a:srgbClr val="F26B43"/>
          </p15:clr>
        </p15:guide>
        <p15:guide id="6" pos="347" userDrawn="1">
          <p15:clr>
            <a:srgbClr val="F26B43"/>
          </p15:clr>
        </p15:guide>
        <p15:guide id="7" pos="733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customXml" Target="../../customXml/item4.x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7.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280A36-9E68-9353-8D8F-AE46D17FC1FC}"/>
              </a:ext>
            </a:extLst>
          </p:cNvPr>
          <p:cNvGraphicFramePr>
            <a:graphicFrameLocks noChangeAspect="1"/>
          </p:cNvGraphicFramePr>
          <p:nvPr>
            <p:custDataLst>
              <p:tags r:id="rId1"/>
            </p:custDataLst>
            <p:extLst>
              <p:ext uri="{D42A27DB-BD31-4B8C-83A1-F6EECF244321}">
                <p14:modId xmlns:p14="http://schemas.microsoft.com/office/powerpoint/2010/main" val="4149088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F7280A36-9E68-9353-8D8F-AE46D17FC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E02F4FD-CB57-61A1-9B89-FADDBA76919F}"/>
              </a:ext>
            </a:extLst>
          </p:cNvPr>
          <p:cNvSpPr>
            <a:spLocks noGrp="1"/>
          </p:cNvSpPr>
          <p:nvPr>
            <p:ph type="body" orient="vert" idx="21"/>
          </p:nvPr>
        </p:nvSpPr>
        <p:spPr/>
        <p:txBody>
          <a:bodyPr/>
          <a:lstStyle/>
          <a:p>
            <a:r>
              <a:rPr lang="en-US"/>
              <a:t>28/02/2023</a:t>
            </a:r>
          </a:p>
        </p:txBody>
      </p:sp>
      <p:sp>
        <p:nvSpPr>
          <p:cNvPr id="6" name="Vertical Text Placeholder 5">
            <a:extLst>
              <a:ext uri="{FF2B5EF4-FFF2-40B4-BE49-F238E27FC236}">
                <a16:creationId xmlns:a16="http://schemas.microsoft.com/office/drawing/2014/main" id="{D1912901-4A76-CABE-B593-4C25B84B0241}"/>
              </a:ext>
            </a:extLst>
          </p:cNvPr>
          <p:cNvSpPr>
            <a:spLocks noGrp="1"/>
          </p:cNvSpPr>
          <p:nvPr>
            <p:ph type="body" orient="vert" idx="23"/>
          </p:nvPr>
        </p:nvSpPr>
        <p:spPr/>
        <p:txBody>
          <a:bodyPr/>
          <a:lstStyle/>
          <a:p>
            <a:endParaRPr lang="en-US"/>
          </a:p>
        </p:txBody>
      </p:sp>
      <p:sp>
        <p:nvSpPr>
          <p:cNvPr id="14" name="Text Placeholder 13">
            <a:extLst>
              <a:ext uri="{FF2B5EF4-FFF2-40B4-BE49-F238E27FC236}">
                <a16:creationId xmlns:a16="http://schemas.microsoft.com/office/drawing/2014/main" id="{58285E85-352B-4517-9601-E5E115CC001B}"/>
              </a:ext>
            </a:extLst>
          </p:cNvPr>
          <p:cNvSpPr>
            <a:spLocks noGrp="1"/>
          </p:cNvSpPr>
          <p:nvPr>
            <p:ph type="body" sz="quarter" idx="53"/>
          </p:nvPr>
        </p:nvSpPr>
        <p:spPr/>
        <p:txBody>
          <a:bodyPr/>
          <a:lstStyle/>
          <a:p>
            <a:r>
              <a:rPr lang="en-US"/>
              <a:t> </a:t>
            </a:r>
          </a:p>
        </p:txBody>
      </p:sp>
      <p:sp>
        <p:nvSpPr>
          <p:cNvPr id="7" name="Titel 6">
            <a:extLst>
              <a:ext uri="{FF2B5EF4-FFF2-40B4-BE49-F238E27FC236}">
                <a16:creationId xmlns:a16="http://schemas.microsoft.com/office/drawing/2014/main" id="{F77B995C-D22D-4F3D-883F-E06F4A9C84F0}"/>
              </a:ext>
            </a:extLst>
          </p:cNvPr>
          <p:cNvSpPr>
            <a:spLocks noGrp="1"/>
          </p:cNvSpPr>
          <p:nvPr>
            <p:ph type="title"/>
          </p:nvPr>
        </p:nvSpPr>
        <p:spPr/>
        <p:txBody>
          <a:bodyPr vert="horz"/>
          <a:lstStyle/>
          <a:p>
            <a:r>
              <a:rPr lang="en-US"/>
              <a:t>GDP</a:t>
            </a:r>
            <a:br>
              <a:rPr lang="en-US"/>
            </a:br>
            <a:r>
              <a:rPr lang="en-US"/>
              <a:t>September, 2024</a:t>
            </a:r>
          </a:p>
        </p:txBody>
      </p:sp>
      <p:sp>
        <p:nvSpPr>
          <p:cNvPr id="17" name="Rectangle 16">
            <a:extLst>
              <a:ext uri="{FF2B5EF4-FFF2-40B4-BE49-F238E27FC236}">
                <a16:creationId xmlns:a16="http://schemas.microsoft.com/office/drawing/2014/main" id="{88315A39-BDC8-0174-A985-E4F293A32DC7}"/>
              </a:ext>
            </a:extLst>
          </p:cNvPr>
          <p:cNvSpPr/>
          <p:nvPr/>
        </p:nvSpPr>
        <p:spPr>
          <a:xfrm>
            <a:off x="7683500" y="4296078"/>
            <a:ext cx="4262436" cy="1570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200" b="1">
                <a:solidFill>
                  <a:schemeClr val="tx2"/>
                </a:solidFill>
              </a:rPr>
              <a:t>GDP – </a:t>
            </a:r>
            <a:r>
              <a:rPr lang="en-US" sz="3200" b="1" err="1">
                <a:solidFill>
                  <a:schemeClr val="tx2"/>
                </a:solidFill>
              </a:rPr>
              <a:t>Dataplatform</a:t>
            </a:r>
            <a:r>
              <a:rPr lang="en-US" sz="3200" b="1">
                <a:solidFill>
                  <a:schemeClr val="tx2"/>
                </a:solidFill>
              </a:rPr>
              <a:t> Upgrade</a:t>
            </a:r>
          </a:p>
        </p:txBody>
      </p:sp>
    </p:spTree>
    <p:extLst>
      <p:ext uri="{BB962C8B-B14F-4D97-AF65-F5344CB8AC3E}">
        <p14:creationId xmlns:p14="http://schemas.microsoft.com/office/powerpoint/2010/main" val="19555815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4D4240BE-6AD1-592E-C006-2BD3FDC42CDB}"/>
              </a:ext>
            </a:extLst>
          </p:cNvPr>
          <p:cNvSpPr/>
          <p:nvPr/>
        </p:nvSpPr>
        <p:spPr>
          <a:xfrm>
            <a:off x="1963610" y="1944304"/>
            <a:ext cx="1962929" cy="3083874"/>
          </a:xfrm>
          <a:prstGeom prst="rect">
            <a:avLst/>
          </a:prstGeom>
        </p:spPr>
        <p:style>
          <a:lnRef idx="2">
            <a:schemeClr val="accent3"/>
          </a:lnRef>
          <a:fillRef idx="1">
            <a:schemeClr val="lt1"/>
          </a:fillRef>
          <a:effectRef idx="0">
            <a:schemeClr val="accent3"/>
          </a:effectRef>
          <a:fontRef idx="minor">
            <a:schemeClr val="dk1"/>
          </a:fontRef>
        </p:style>
        <p:txBody>
          <a:bodyPr rtlCol="0" anchor="t" anchorCtr="0"/>
          <a:lstStyle/>
          <a:p>
            <a:pPr algn="ctr"/>
            <a:r>
              <a:rPr lang="en-NL" dirty="0"/>
              <a:t>Ingest</a:t>
            </a:r>
          </a:p>
        </p:txBody>
      </p:sp>
      <p:sp>
        <p:nvSpPr>
          <p:cNvPr id="78" name="Rectangle 77">
            <a:extLst>
              <a:ext uri="{FF2B5EF4-FFF2-40B4-BE49-F238E27FC236}">
                <a16:creationId xmlns:a16="http://schemas.microsoft.com/office/drawing/2014/main" id="{2F90F99A-E16B-25D8-09D8-17BAA67B951B}"/>
              </a:ext>
            </a:extLst>
          </p:cNvPr>
          <p:cNvSpPr/>
          <p:nvPr/>
        </p:nvSpPr>
        <p:spPr>
          <a:xfrm>
            <a:off x="3932402" y="1944304"/>
            <a:ext cx="1962929" cy="3083874"/>
          </a:xfrm>
          <a:prstGeom prst="rect">
            <a:avLst/>
          </a:prstGeom>
        </p:spPr>
        <p:style>
          <a:lnRef idx="2">
            <a:schemeClr val="accent3"/>
          </a:lnRef>
          <a:fillRef idx="1">
            <a:schemeClr val="lt1"/>
          </a:fillRef>
          <a:effectRef idx="0">
            <a:schemeClr val="accent3"/>
          </a:effectRef>
          <a:fontRef idx="minor">
            <a:schemeClr val="dk1"/>
          </a:fontRef>
        </p:style>
        <p:txBody>
          <a:bodyPr rtlCol="0" anchor="t" anchorCtr="0"/>
          <a:lstStyle/>
          <a:p>
            <a:pPr algn="ctr"/>
            <a:r>
              <a:rPr lang="en-NL" dirty="0"/>
              <a:t>DA</a:t>
            </a:r>
          </a:p>
        </p:txBody>
      </p:sp>
      <p:sp>
        <p:nvSpPr>
          <p:cNvPr id="79" name="Rectangle 78">
            <a:extLst>
              <a:ext uri="{FF2B5EF4-FFF2-40B4-BE49-F238E27FC236}">
                <a16:creationId xmlns:a16="http://schemas.microsoft.com/office/drawing/2014/main" id="{5019D299-B3C9-C6CB-DC60-03F673BA81E5}"/>
              </a:ext>
            </a:extLst>
          </p:cNvPr>
          <p:cNvSpPr/>
          <p:nvPr/>
        </p:nvSpPr>
        <p:spPr>
          <a:xfrm>
            <a:off x="5901194" y="1944304"/>
            <a:ext cx="1962929" cy="3083874"/>
          </a:xfrm>
          <a:prstGeom prst="rect">
            <a:avLst/>
          </a:prstGeom>
        </p:spPr>
        <p:style>
          <a:lnRef idx="2">
            <a:schemeClr val="accent3"/>
          </a:lnRef>
          <a:fillRef idx="1">
            <a:schemeClr val="lt1"/>
          </a:fillRef>
          <a:effectRef idx="0">
            <a:schemeClr val="accent3"/>
          </a:effectRef>
          <a:fontRef idx="minor">
            <a:schemeClr val="dk1"/>
          </a:fontRef>
        </p:style>
        <p:txBody>
          <a:bodyPr rtlCol="0" anchor="t" anchorCtr="0"/>
          <a:lstStyle/>
          <a:p>
            <a:pPr algn="ctr"/>
            <a:r>
              <a:rPr lang="en-NL" dirty="0"/>
              <a:t>BA</a:t>
            </a:r>
          </a:p>
        </p:txBody>
      </p:sp>
      <p:sp>
        <p:nvSpPr>
          <p:cNvPr id="80" name="Rectangle 79">
            <a:extLst>
              <a:ext uri="{FF2B5EF4-FFF2-40B4-BE49-F238E27FC236}">
                <a16:creationId xmlns:a16="http://schemas.microsoft.com/office/drawing/2014/main" id="{12AE736A-09F9-FC5F-43EB-9014AEF94157}"/>
              </a:ext>
            </a:extLst>
          </p:cNvPr>
          <p:cNvSpPr/>
          <p:nvPr/>
        </p:nvSpPr>
        <p:spPr>
          <a:xfrm>
            <a:off x="7869986" y="1944304"/>
            <a:ext cx="1962929" cy="3083874"/>
          </a:xfrm>
          <a:prstGeom prst="rect">
            <a:avLst/>
          </a:prstGeom>
        </p:spPr>
        <p:style>
          <a:lnRef idx="2">
            <a:schemeClr val="accent3"/>
          </a:lnRef>
          <a:fillRef idx="1">
            <a:schemeClr val="lt1"/>
          </a:fillRef>
          <a:effectRef idx="0">
            <a:schemeClr val="accent3"/>
          </a:effectRef>
          <a:fontRef idx="minor">
            <a:schemeClr val="dk1"/>
          </a:fontRef>
        </p:style>
        <p:txBody>
          <a:bodyPr rtlCol="0" anchor="t" anchorCtr="0"/>
          <a:lstStyle/>
          <a:p>
            <a:pPr algn="ctr"/>
            <a:r>
              <a:rPr lang="en-NL" dirty="0"/>
              <a:t>IA</a:t>
            </a:r>
          </a:p>
        </p:txBody>
      </p:sp>
      <p:sp>
        <p:nvSpPr>
          <p:cNvPr id="81" name="Rectangle 80">
            <a:extLst>
              <a:ext uri="{FF2B5EF4-FFF2-40B4-BE49-F238E27FC236}">
                <a16:creationId xmlns:a16="http://schemas.microsoft.com/office/drawing/2014/main" id="{FF6743F8-7A68-8DD2-6B18-590AC2FA0EB2}"/>
              </a:ext>
            </a:extLst>
          </p:cNvPr>
          <p:cNvSpPr/>
          <p:nvPr/>
        </p:nvSpPr>
        <p:spPr>
          <a:xfrm>
            <a:off x="9833461" y="1949620"/>
            <a:ext cx="1962929" cy="3083874"/>
          </a:xfrm>
          <a:prstGeom prst="rect">
            <a:avLst/>
          </a:prstGeom>
        </p:spPr>
        <p:style>
          <a:lnRef idx="2">
            <a:schemeClr val="accent3"/>
          </a:lnRef>
          <a:fillRef idx="1">
            <a:schemeClr val="lt1"/>
          </a:fillRef>
          <a:effectRef idx="0">
            <a:schemeClr val="accent3"/>
          </a:effectRef>
          <a:fontRef idx="minor">
            <a:schemeClr val="dk1"/>
          </a:fontRef>
        </p:style>
        <p:txBody>
          <a:bodyPr rtlCol="0" anchor="t" anchorCtr="0"/>
          <a:lstStyle/>
          <a:p>
            <a:pPr algn="ctr"/>
            <a:r>
              <a:rPr lang="en-NL" dirty="0"/>
              <a:t>Power BI</a:t>
            </a:r>
          </a:p>
        </p:txBody>
      </p:sp>
      <p:graphicFrame>
        <p:nvGraphicFramePr>
          <p:cNvPr id="29" name="think-cell data - do not delete" hidden="1">
            <a:extLst>
              <a:ext uri="{FF2B5EF4-FFF2-40B4-BE49-F238E27FC236}">
                <a16:creationId xmlns:a16="http://schemas.microsoft.com/office/drawing/2014/main" id="{6BD29F51-B70F-1099-CBC2-08C70DAD94D4}"/>
              </a:ext>
            </a:extLst>
          </p:cNvPr>
          <p:cNvGraphicFramePr>
            <a:graphicFrameLocks noChangeAspect="1"/>
          </p:cNvGraphicFramePr>
          <p:nvPr>
            <p:custDataLst>
              <p:tags r:id="rId3"/>
            </p:custDataLst>
            <p:extLst>
              <p:ext uri="{D42A27DB-BD31-4B8C-83A1-F6EECF244321}">
                <p14:modId xmlns:p14="http://schemas.microsoft.com/office/powerpoint/2010/main" val="2116162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29" name="think-cell data - do not delete" hidden="1">
                        <a:extLst>
                          <a:ext uri="{FF2B5EF4-FFF2-40B4-BE49-F238E27FC236}">
                            <a16:creationId xmlns:a16="http://schemas.microsoft.com/office/drawing/2014/main" id="{6BD29F51-B70F-1099-CBC2-08C70DAD94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7" name="Slide Number Placeholder 26">
            <a:extLst>
              <a:ext uri="{FF2B5EF4-FFF2-40B4-BE49-F238E27FC236}">
                <a16:creationId xmlns:a16="http://schemas.microsoft.com/office/drawing/2014/main" id="{B6F3D112-04A7-EE94-118A-B50CFC5F4809}"/>
              </a:ext>
            </a:extLst>
          </p:cNvPr>
          <p:cNvSpPr>
            <a:spLocks noGrp="1"/>
          </p:cNvSpPr>
          <p:nvPr>
            <p:ph type="sldNum" sz="quarter" idx="10"/>
          </p:nvPr>
        </p:nvSpPr>
        <p:spPr/>
        <p:txBody>
          <a:bodyPr/>
          <a:lstStyle/>
          <a:p>
            <a:pPr>
              <a:defRPr/>
            </a:pPr>
            <a:fld id="{916336A2-5EB4-4EC1-953B-D9D538DF092C}" type="slidenum">
              <a:rPr lang="en-US" smtClean="0"/>
              <a:pPr>
                <a:defRPr/>
              </a:pPr>
              <a:t>2</a:t>
            </a:fld>
            <a:endParaRPr lang="en-US"/>
          </a:p>
        </p:txBody>
      </p:sp>
      <p:sp>
        <p:nvSpPr>
          <p:cNvPr id="4" name="Title 3">
            <a:extLst>
              <a:ext uri="{FF2B5EF4-FFF2-40B4-BE49-F238E27FC236}">
                <a16:creationId xmlns:a16="http://schemas.microsoft.com/office/drawing/2014/main" id="{AA0E71E8-FA8D-436E-BBD4-A087ECD75120}"/>
              </a:ext>
            </a:extLst>
          </p:cNvPr>
          <p:cNvSpPr>
            <a:spLocks noGrp="1"/>
          </p:cNvSpPr>
          <p:nvPr>
            <p:ph type="title"/>
          </p:nvPr>
        </p:nvSpPr>
        <p:spPr/>
        <p:txBody>
          <a:bodyPr vert="horz"/>
          <a:lstStyle/>
          <a:p>
            <a:r>
              <a:rPr lang="en-US" dirty="0"/>
              <a:t>Global Reporting – Europe</a:t>
            </a:r>
          </a:p>
        </p:txBody>
      </p:sp>
      <p:sp>
        <p:nvSpPr>
          <p:cNvPr id="11" name="TextBox 10">
            <a:extLst>
              <a:ext uri="{FF2B5EF4-FFF2-40B4-BE49-F238E27FC236}">
                <a16:creationId xmlns:a16="http://schemas.microsoft.com/office/drawing/2014/main" id="{4C2C82BA-2954-FC67-62DD-2544F944F381}"/>
              </a:ext>
            </a:extLst>
          </p:cNvPr>
          <p:cNvSpPr txBox="1"/>
          <p:nvPr/>
        </p:nvSpPr>
        <p:spPr>
          <a:xfrm>
            <a:off x="372674" y="2779707"/>
            <a:ext cx="1580305" cy="461665"/>
          </a:xfrm>
          <a:prstGeom prst="rect">
            <a:avLst/>
          </a:prstGeom>
          <a:noFill/>
        </p:spPr>
        <p:txBody>
          <a:bodyPr wrap="none" rtlCol="0">
            <a:spAutoFit/>
          </a:bodyPr>
          <a:lstStyle/>
          <a:p>
            <a:pPr algn="r"/>
            <a:r>
              <a:rPr lang="en-NL" sz="2400" b="1" dirty="0"/>
              <a:t>SalesOrder</a:t>
            </a:r>
          </a:p>
        </p:txBody>
      </p:sp>
      <p:sp>
        <p:nvSpPr>
          <p:cNvPr id="17" name="Rounded Rectangle 16">
            <a:extLst>
              <a:ext uri="{FF2B5EF4-FFF2-40B4-BE49-F238E27FC236}">
                <a16:creationId xmlns:a16="http://schemas.microsoft.com/office/drawing/2014/main" id="{2428BEE2-0B70-6939-C8E9-AC71FE2EA992}"/>
              </a:ext>
            </a:extLst>
          </p:cNvPr>
          <p:cNvSpPr/>
          <p:nvPr/>
        </p:nvSpPr>
        <p:spPr>
          <a:xfrm>
            <a:off x="1964727" y="2823015"/>
            <a:ext cx="9836977" cy="375048"/>
          </a:xfrm>
          <a:prstGeom prst="roundRect">
            <a:avLst/>
          </a:prstGeom>
          <a:solidFill>
            <a:schemeClr val="accent2">
              <a:lumMod val="40000"/>
              <a:lumOff val="6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NL"/>
          </a:p>
        </p:txBody>
      </p:sp>
      <p:sp>
        <p:nvSpPr>
          <p:cNvPr id="18" name="Rounded Rectangle 17">
            <a:extLst>
              <a:ext uri="{FF2B5EF4-FFF2-40B4-BE49-F238E27FC236}">
                <a16:creationId xmlns:a16="http://schemas.microsoft.com/office/drawing/2014/main" id="{5F9A5885-7214-57DF-C2B1-62ED5DA4E6ED}"/>
              </a:ext>
            </a:extLst>
          </p:cNvPr>
          <p:cNvSpPr/>
          <p:nvPr/>
        </p:nvSpPr>
        <p:spPr>
          <a:xfrm>
            <a:off x="1964728" y="2823015"/>
            <a:ext cx="7868188" cy="375048"/>
          </a:xfrm>
          <a:prstGeom prst="round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NL"/>
          </a:p>
        </p:txBody>
      </p:sp>
      <p:sp>
        <p:nvSpPr>
          <p:cNvPr id="21" name="TextBox 20">
            <a:extLst>
              <a:ext uri="{FF2B5EF4-FFF2-40B4-BE49-F238E27FC236}">
                <a16:creationId xmlns:a16="http://schemas.microsoft.com/office/drawing/2014/main" id="{3B3EC5D6-BAFA-0C19-7876-4F24DC7B9FB8}"/>
              </a:ext>
            </a:extLst>
          </p:cNvPr>
          <p:cNvSpPr txBox="1"/>
          <p:nvPr/>
        </p:nvSpPr>
        <p:spPr>
          <a:xfrm>
            <a:off x="152979" y="3271317"/>
            <a:ext cx="1800000" cy="461665"/>
          </a:xfrm>
          <a:prstGeom prst="rect">
            <a:avLst/>
          </a:prstGeom>
          <a:noFill/>
        </p:spPr>
        <p:txBody>
          <a:bodyPr wrap="none" rtlCol="0">
            <a:spAutoFit/>
          </a:bodyPr>
          <a:lstStyle/>
          <a:p>
            <a:pPr algn="r"/>
            <a:r>
              <a:rPr lang="en-NL" sz="2400" b="1" dirty="0"/>
              <a:t>Inventory</a:t>
            </a:r>
          </a:p>
        </p:txBody>
      </p:sp>
      <p:sp>
        <p:nvSpPr>
          <p:cNvPr id="22" name="Rounded Rectangle 21">
            <a:extLst>
              <a:ext uri="{FF2B5EF4-FFF2-40B4-BE49-F238E27FC236}">
                <a16:creationId xmlns:a16="http://schemas.microsoft.com/office/drawing/2014/main" id="{EEC8C5F9-1FEF-88C3-64F3-CE38331E3A8F}"/>
              </a:ext>
            </a:extLst>
          </p:cNvPr>
          <p:cNvSpPr/>
          <p:nvPr/>
        </p:nvSpPr>
        <p:spPr>
          <a:xfrm>
            <a:off x="1964728" y="3314625"/>
            <a:ext cx="9836976" cy="375048"/>
          </a:xfrm>
          <a:prstGeom prst="roundRect">
            <a:avLst/>
          </a:prstGeom>
          <a:solidFill>
            <a:schemeClr val="accent2">
              <a:lumMod val="40000"/>
              <a:lumOff val="6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NL"/>
          </a:p>
        </p:txBody>
      </p:sp>
      <p:sp>
        <p:nvSpPr>
          <p:cNvPr id="23" name="Rounded Rectangle 22">
            <a:extLst>
              <a:ext uri="{FF2B5EF4-FFF2-40B4-BE49-F238E27FC236}">
                <a16:creationId xmlns:a16="http://schemas.microsoft.com/office/drawing/2014/main" id="{4BD49081-B988-3183-4473-E9EEC065D302}"/>
              </a:ext>
            </a:extLst>
          </p:cNvPr>
          <p:cNvSpPr/>
          <p:nvPr/>
        </p:nvSpPr>
        <p:spPr>
          <a:xfrm>
            <a:off x="1964728" y="3314625"/>
            <a:ext cx="5899396" cy="375048"/>
          </a:xfrm>
          <a:prstGeom prst="round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NL"/>
          </a:p>
        </p:txBody>
      </p:sp>
      <p:sp>
        <p:nvSpPr>
          <p:cNvPr id="24" name="TextBox 23">
            <a:extLst>
              <a:ext uri="{FF2B5EF4-FFF2-40B4-BE49-F238E27FC236}">
                <a16:creationId xmlns:a16="http://schemas.microsoft.com/office/drawing/2014/main" id="{3521A5E4-45D6-D52B-84FA-7A5542EB3505}"/>
              </a:ext>
            </a:extLst>
          </p:cNvPr>
          <p:cNvSpPr txBox="1"/>
          <p:nvPr/>
        </p:nvSpPr>
        <p:spPr>
          <a:xfrm>
            <a:off x="152979" y="3762927"/>
            <a:ext cx="1800000" cy="461665"/>
          </a:xfrm>
          <a:prstGeom prst="rect">
            <a:avLst/>
          </a:prstGeom>
          <a:noFill/>
        </p:spPr>
        <p:txBody>
          <a:bodyPr wrap="none" rtlCol="0">
            <a:spAutoFit/>
          </a:bodyPr>
          <a:lstStyle/>
          <a:p>
            <a:pPr algn="r"/>
            <a:r>
              <a:rPr lang="en-NL" sz="2400" b="1" dirty="0"/>
              <a:t>Finance</a:t>
            </a:r>
          </a:p>
        </p:txBody>
      </p:sp>
      <p:sp>
        <p:nvSpPr>
          <p:cNvPr id="25" name="Rounded Rectangle 24">
            <a:extLst>
              <a:ext uri="{FF2B5EF4-FFF2-40B4-BE49-F238E27FC236}">
                <a16:creationId xmlns:a16="http://schemas.microsoft.com/office/drawing/2014/main" id="{12B71E59-024F-07EE-87CB-5749BA90769C}"/>
              </a:ext>
            </a:extLst>
          </p:cNvPr>
          <p:cNvSpPr/>
          <p:nvPr/>
        </p:nvSpPr>
        <p:spPr>
          <a:xfrm>
            <a:off x="1964727" y="3806235"/>
            <a:ext cx="9836975" cy="375048"/>
          </a:xfrm>
          <a:prstGeom prst="roundRect">
            <a:avLst/>
          </a:prstGeom>
          <a:solidFill>
            <a:schemeClr val="accent2">
              <a:lumMod val="40000"/>
              <a:lumOff val="6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NL"/>
          </a:p>
        </p:txBody>
      </p:sp>
      <p:sp>
        <p:nvSpPr>
          <p:cNvPr id="28" name="Rounded Rectangle 27">
            <a:extLst>
              <a:ext uri="{FF2B5EF4-FFF2-40B4-BE49-F238E27FC236}">
                <a16:creationId xmlns:a16="http://schemas.microsoft.com/office/drawing/2014/main" id="{B99C734B-7D16-84A9-4378-BC94791864CF}"/>
              </a:ext>
            </a:extLst>
          </p:cNvPr>
          <p:cNvSpPr/>
          <p:nvPr/>
        </p:nvSpPr>
        <p:spPr>
          <a:xfrm>
            <a:off x="1964728" y="3806235"/>
            <a:ext cx="7863418" cy="375048"/>
          </a:xfrm>
          <a:prstGeom prst="round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NL"/>
          </a:p>
        </p:txBody>
      </p:sp>
      <p:sp>
        <p:nvSpPr>
          <p:cNvPr id="30" name="TextBox 29">
            <a:extLst>
              <a:ext uri="{FF2B5EF4-FFF2-40B4-BE49-F238E27FC236}">
                <a16:creationId xmlns:a16="http://schemas.microsoft.com/office/drawing/2014/main" id="{DB5037BE-0C75-A97E-624A-6F277E7DE850}"/>
              </a:ext>
            </a:extLst>
          </p:cNvPr>
          <p:cNvSpPr txBox="1"/>
          <p:nvPr/>
        </p:nvSpPr>
        <p:spPr>
          <a:xfrm>
            <a:off x="363056" y="4211229"/>
            <a:ext cx="1589922" cy="461665"/>
          </a:xfrm>
          <a:prstGeom prst="rect">
            <a:avLst/>
          </a:prstGeom>
          <a:noFill/>
        </p:spPr>
        <p:txBody>
          <a:bodyPr wrap="none" rtlCol="0">
            <a:spAutoFit/>
          </a:bodyPr>
          <a:lstStyle/>
          <a:p>
            <a:pPr algn="r"/>
            <a:r>
              <a:rPr lang="en-NL" sz="2400" b="1" dirty="0"/>
              <a:t>Production</a:t>
            </a:r>
          </a:p>
        </p:txBody>
      </p:sp>
      <p:sp>
        <p:nvSpPr>
          <p:cNvPr id="32" name="Rounded Rectangle 31">
            <a:extLst>
              <a:ext uri="{FF2B5EF4-FFF2-40B4-BE49-F238E27FC236}">
                <a16:creationId xmlns:a16="http://schemas.microsoft.com/office/drawing/2014/main" id="{8F6A0AE4-9F0A-E5D3-1676-1193C51CD7C6}"/>
              </a:ext>
            </a:extLst>
          </p:cNvPr>
          <p:cNvSpPr/>
          <p:nvPr/>
        </p:nvSpPr>
        <p:spPr>
          <a:xfrm>
            <a:off x="1964727" y="4254537"/>
            <a:ext cx="9836974" cy="375048"/>
          </a:xfrm>
          <a:prstGeom prst="roundRect">
            <a:avLst/>
          </a:prstGeom>
          <a:solidFill>
            <a:schemeClr val="accent2">
              <a:lumMod val="40000"/>
              <a:lumOff val="6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NL"/>
          </a:p>
        </p:txBody>
      </p:sp>
      <p:sp>
        <p:nvSpPr>
          <p:cNvPr id="35" name="TextBox 34">
            <a:extLst>
              <a:ext uri="{FF2B5EF4-FFF2-40B4-BE49-F238E27FC236}">
                <a16:creationId xmlns:a16="http://schemas.microsoft.com/office/drawing/2014/main" id="{C483058D-DB07-1D1A-9423-9A4FA4A635FD}"/>
              </a:ext>
            </a:extLst>
          </p:cNvPr>
          <p:cNvSpPr txBox="1"/>
          <p:nvPr/>
        </p:nvSpPr>
        <p:spPr>
          <a:xfrm>
            <a:off x="189354" y="2300306"/>
            <a:ext cx="1763624" cy="461665"/>
          </a:xfrm>
          <a:prstGeom prst="rect">
            <a:avLst/>
          </a:prstGeom>
          <a:noFill/>
        </p:spPr>
        <p:txBody>
          <a:bodyPr wrap="none" rtlCol="0">
            <a:spAutoFit/>
          </a:bodyPr>
          <a:lstStyle/>
          <a:p>
            <a:pPr algn="r"/>
            <a:r>
              <a:rPr lang="en-NL" sz="2400" b="1" dirty="0"/>
              <a:t>Opportunity</a:t>
            </a:r>
          </a:p>
        </p:txBody>
      </p:sp>
      <p:sp>
        <p:nvSpPr>
          <p:cNvPr id="36" name="Rounded Rectangle 35">
            <a:extLst>
              <a:ext uri="{FF2B5EF4-FFF2-40B4-BE49-F238E27FC236}">
                <a16:creationId xmlns:a16="http://schemas.microsoft.com/office/drawing/2014/main" id="{9DB4BEEB-2997-C92A-3203-FBD481406119}"/>
              </a:ext>
            </a:extLst>
          </p:cNvPr>
          <p:cNvSpPr/>
          <p:nvPr/>
        </p:nvSpPr>
        <p:spPr>
          <a:xfrm>
            <a:off x="1964726" y="2359562"/>
            <a:ext cx="9836979" cy="375048"/>
          </a:xfrm>
          <a:prstGeom prst="roundRect">
            <a:avLst/>
          </a:prstGeom>
          <a:solidFill>
            <a:schemeClr val="accent2">
              <a:lumMod val="40000"/>
              <a:lumOff val="6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NL"/>
          </a:p>
        </p:txBody>
      </p:sp>
      <p:sp>
        <p:nvSpPr>
          <p:cNvPr id="37" name="Rounded Rectangle 36">
            <a:extLst>
              <a:ext uri="{FF2B5EF4-FFF2-40B4-BE49-F238E27FC236}">
                <a16:creationId xmlns:a16="http://schemas.microsoft.com/office/drawing/2014/main" id="{C3ADA9A7-4BB0-AAE4-C44D-B5C23B8FFD4E}"/>
              </a:ext>
            </a:extLst>
          </p:cNvPr>
          <p:cNvSpPr/>
          <p:nvPr/>
        </p:nvSpPr>
        <p:spPr>
          <a:xfrm>
            <a:off x="1964726" y="2359562"/>
            <a:ext cx="5899397" cy="375048"/>
          </a:xfrm>
          <a:prstGeom prst="round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NL"/>
          </a:p>
        </p:txBody>
      </p:sp>
      <p:sp>
        <p:nvSpPr>
          <p:cNvPr id="74" name="TextBox 73">
            <a:extLst>
              <a:ext uri="{FF2B5EF4-FFF2-40B4-BE49-F238E27FC236}">
                <a16:creationId xmlns:a16="http://schemas.microsoft.com/office/drawing/2014/main" id="{445B8EB1-24FC-4CD0-361A-62928E0D9B23}"/>
              </a:ext>
            </a:extLst>
          </p:cNvPr>
          <p:cNvSpPr txBox="1"/>
          <p:nvPr/>
        </p:nvSpPr>
        <p:spPr>
          <a:xfrm>
            <a:off x="390294" y="4632542"/>
            <a:ext cx="1573316" cy="461665"/>
          </a:xfrm>
          <a:prstGeom prst="rect">
            <a:avLst/>
          </a:prstGeom>
          <a:noFill/>
        </p:spPr>
        <p:txBody>
          <a:bodyPr wrap="none" rtlCol="0">
            <a:spAutoFit/>
          </a:bodyPr>
          <a:lstStyle/>
          <a:p>
            <a:pPr algn="r"/>
            <a:r>
              <a:rPr lang="en-NL" sz="2400" b="1" dirty="0"/>
              <a:t>Purchasing</a:t>
            </a:r>
          </a:p>
        </p:txBody>
      </p:sp>
      <p:sp>
        <p:nvSpPr>
          <p:cNvPr id="75" name="Rounded Rectangle 74">
            <a:extLst>
              <a:ext uri="{FF2B5EF4-FFF2-40B4-BE49-F238E27FC236}">
                <a16:creationId xmlns:a16="http://schemas.microsoft.com/office/drawing/2014/main" id="{CFBA116D-099B-3BC4-D336-6E78B64F7DC9}"/>
              </a:ext>
            </a:extLst>
          </p:cNvPr>
          <p:cNvSpPr/>
          <p:nvPr/>
        </p:nvSpPr>
        <p:spPr>
          <a:xfrm>
            <a:off x="1964727" y="4675850"/>
            <a:ext cx="9836974" cy="375048"/>
          </a:xfrm>
          <a:prstGeom prst="roundRect">
            <a:avLst/>
          </a:prstGeom>
          <a:solidFill>
            <a:schemeClr val="accent2">
              <a:lumMod val="40000"/>
              <a:lumOff val="60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NL"/>
          </a:p>
        </p:txBody>
      </p:sp>
      <p:sp>
        <p:nvSpPr>
          <p:cNvPr id="76" name="Rounded Rectangle 75">
            <a:extLst>
              <a:ext uri="{FF2B5EF4-FFF2-40B4-BE49-F238E27FC236}">
                <a16:creationId xmlns:a16="http://schemas.microsoft.com/office/drawing/2014/main" id="{7BFDA760-4144-6549-5EDF-BEE88C5C0551}"/>
              </a:ext>
            </a:extLst>
          </p:cNvPr>
          <p:cNvSpPr/>
          <p:nvPr/>
        </p:nvSpPr>
        <p:spPr>
          <a:xfrm>
            <a:off x="1964726" y="4675850"/>
            <a:ext cx="7863420" cy="375048"/>
          </a:xfrm>
          <a:prstGeom prst="round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NL"/>
          </a:p>
        </p:txBody>
      </p:sp>
      <p:sp>
        <p:nvSpPr>
          <p:cNvPr id="82" name="Rectangle 81">
            <a:extLst>
              <a:ext uri="{FF2B5EF4-FFF2-40B4-BE49-F238E27FC236}">
                <a16:creationId xmlns:a16="http://schemas.microsoft.com/office/drawing/2014/main" id="{9BB12A6E-6270-A73D-230C-638F138D7D0D}"/>
              </a:ext>
            </a:extLst>
          </p:cNvPr>
          <p:cNvSpPr/>
          <p:nvPr/>
        </p:nvSpPr>
        <p:spPr>
          <a:xfrm>
            <a:off x="1952978" y="1627614"/>
            <a:ext cx="7879937" cy="32803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algn="ctr"/>
            <a:r>
              <a:rPr lang="en-NL" dirty="0"/>
              <a:t>Data Platform</a:t>
            </a:r>
          </a:p>
        </p:txBody>
      </p:sp>
      <p:sp>
        <p:nvSpPr>
          <p:cNvPr id="83" name="Rectangle 82">
            <a:extLst>
              <a:ext uri="{FF2B5EF4-FFF2-40B4-BE49-F238E27FC236}">
                <a16:creationId xmlns:a16="http://schemas.microsoft.com/office/drawing/2014/main" id="{6111C2C0-A1C1-D824-2B2E-841A77A9F0B6}"/>
              </a:ext>
            </a:extLst>
          </p:cNvPr>
          <p:cNvSpPr/>
          <p:nvPr/>
        </p:nvSpPr>
        <p:spPr>
          <a:xfrm>
            <a:off x="9828146" y="1629092"/>
            <a:ext cx="1967698" cy="32803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algn="ctr"/>
            <a:r>
              <a:rPr lang="en-NL" dirty="0">
                <a:solidFill>
                  <a:schemeClr val="lt1"/>
                </a:solidFill>
              </a:rPr>
              <a:t>Reporting</a:t>
            </a:r>
          </a:p>
        </p:txBody>
      </p:sp>
    </p:spTree>
    <p:custDataLst>
      <p:custData r:id="rId1"/>
      <p:tags r:id="rId2"/>
    </p:custDataLst>
    <p:extLst>
      <p:ext uri="{BB962C8B-B14F-4D97-AF65-F5344CB8AC3E}">
        <p14:creationId xmlns:p14="http://schemas.microsoft.com/office/powerpoint/2010/main" val="34793329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FE735-69F6-7E1B-9DA1-EA22710E4884}"/>
              </a:ext>
            </a:extLst>
          </p:cNvPr>
          <p:cNvSpPr>
            <a:spLocks noGrp="1"/>
          </p:cNvSpPr>
          <p:nvPr>
            <p:ph type="title"/>
          </p:nvPr>
        </p:nvSpPr>
        <p:spPr/>
        <p:txBody>
          <a:bodyPr/>
          <a:lstStyle/>
          <a:p>
            <a:r>
              <a:rPr lang="en-NL"/>
              <a:t>Management Summary</a:t>
            </a:r>
          </a:p>
        </p:txBody>
      </p:sp>
    </p:spTree>
    <p:extLst>
      <p:ext uri="{BB962C8B-B14F-4D97-AF65-F5344CB8AC3E}">
        <p14:creationId xmlns:p14="http://schemas.microsoft.com/office/powerpoint/2010/main" val="9063056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867995"/>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69DCCA-449C-2C78-DE39-31BA95F62C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E069DCCA-449C-2C78-DE39-31BA95F62C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851122C-8715-D610-8674-42EBB621009D}"/>
              </a:ext>
            </a:extLst>
          </p:cNvPr>
          <p:cNvSpPr>
            <a:spLocks noGrp="1"/>
          </p:cNvSpPr>
          <p:nvPr>
            <p:ph type="sldNum" sz="quarter" idx="10"/>
          </p:nvPr>
        </p:nvSpPr>
        <p:spPr/>
        <p:txBody>
          <a:bodyPr/>
          <a:lstStyle/>
          <a:p>
            <a:fld id="{1F1AB7F0-A183-4E3D-883C-6313A1D5ED02}" type="slidenum">
              <a:rPr lang="en-US" smtClean="0"/>
              <a:pPr/>
              <a:t>5</a:t>
            </a:fld>
            <a:endParaRPr lang="en-US"/>
          </a:p>
        </p:txBody>
      </p:sp>
      <p:sp>
        <p:nvSpPr>
          <p:cNvPr id="4" name="Title 3">
            <a:extLst>
              <a:ext uri="{FF2B5EF4-FFF2-40B4-BE49-F238E27FC236}">
                <a16:creationId xmlns:a16="http://schemas.microsoft.com/office/drawing/2014/main" id="{61D98ED4-86A9-13D7-27E2-393DCE7DD9D3}"/>
              </a:ext>
            </a:extLst>
          </p:cNvPr>
          <p:cNvSpPr>
            <a:spLocks noGrp="1"/>
          </p:cNvSpPr>
          <p:nvPr>
            <p:ph type="title"/>
          </p:nvPr>
        </p:nvSpPr>
        <p:spPr/>
        <p:txBody>
          <a:bodyPr vert="horz"/>
          <a:lstStyle/>
          <a:p>
            <a:r>
              <a:rPr lang="en-US" b="1"/>
              <a:t>Findings - Orchestration</a:t>
            </a:r>
          </a:p>
        </p:txBody>
      </p:sp>
      <p:graphicFrame>
        <p:nvGraphicFramePr>
          <p:cNvPr id="13" name="Table 12">
            <a:extLst>
              <a:ext uri="{FF2B5EF4-FFF2-40B4-BE49-F238E27FC236}">
                <a16:creationId xmlns:a16="http://schemas.microsoft.com/office/drawing/2014/main" id="{38180A3E-11C1-3A58-BF40-F28C62ED696F}"/>
              </a:ext>
            </a:extLst>
          </p:cNvPr>
          <p:cNvGraphicFramePr>
            <a:graphicFrameLocks noGrp="1"/>
          </p:cNvGraphicFramePr>
          <p:nvPr>
            <p:extLst>
              <p:ext uri="{D42A27DB-BD31-4B8C-83A1-F6EECF244321}">
                <p14:modId xmlns:p14="http://schemas.microsoft.com/office/powerpoint/2010/main" val="3582174946"/>
              </p:ext>
            </p:extLst>
          </p:nvPr>
        </p:nvGraphicFramePr>
        <p:xfrm>
          <a:off x="550862" y="1240829"/>
          <a:ext cx="10671165" cy="4140101"/>
        </p:xfrm>
        <a:graphic>
          <a:graphicData uri="http://schemas.openxmlformats.org/drawingml/2006/table">
            <a:tbl>
              <a:tblPr firstRow="1" bandRow="1">
                <a:tableStyleId>{1FECB4D8-DB02-4DC6-A0A2-4F2EBAE1DC90}</a:tableStyleId>
              </a:tblPr>
              <a:tblGrid>
                <a:gridCol w="2469740">
                  <a:extLst>
                    <a:ext uri="{9D8B030D-6E8A-4147-A177-3AD203B41FA5}">
                      <a16:colId xmlns:a16="http://schemas.microsoft.com/office/drawing/2014/main" val="3990344869"/>
                    </a:ext>
                  </a:extLst>
                </a:gridCol>
                <a:gridCol w="3595365">
                  <a:extLst>
                    <a:ext uri="{9D8B030D-6E8A-4147-A177-3AD203B41FA5}">
                      <a16:colId xmlns:a16="http://schemas.microsoft.com/office/drawing/2014/main" val="336912675"/>
                    </a:ext>
                  </a:extLst>
                </a:gridCol>
                <a:gridCol w="4606060">
                  <a:extLst>
                    <a:ext uri="{9D8B030D-6E8A-4147-A177-3AD203B41FA5}">
                      <a16:colId xmlns:a16="http://schemas.microsoft.com/office/drawing/2014/main" val="2389098229"/>
                    </a:ext>
                  </a:extLst>
                </a:gridCol>
              </a:tblGrid>
              <a:tr h="525056">
                <a:tc>
                  <a:txBody>
                    <a:bodyPr/>
                    <a:lstStyle/>
                    <a:p>
                      <a:r>
                        <a:rPr lang="en-US" sz="2000"/>
                        <a:t>Category</a:t>
                      </a:r>
                      <a:endParaRPr lang="en-NL" sz="2000"/>
                    </a:p>
                  </a:txBody>
                  <a:tcPr/>
                </a:tc>
                <a:tc>
                  <a:txBody>
                    <a:bodyPr/>
                    <a:lstStyle/>
                    <a:p>
                      <a:pPr algn="ctr"/>
                      <a:r>
                        <a:rPr lang="en-US"/>
                        <a:t>Snowflake Only</a:t>
                      </a:r>
                      <a:endParaRPr lang="en-NL"/>
                    </a:p>
                  </a:txBody>
                  <a:tcPr/>
                </a:tc>
                <a:tc>
                  <a:txBody>
                    <a:bodyPr/>
                    <a:lstStyle/>
                    <a:p>
                      <a:pPr algn="ctr"/>
                      <a:r>
                        <a:rPr lang="en-US"/>
                        <a:t>Azure Data Factory</a:t>
                      </a:r>
                      <a:endParaRPr lang="en-NL"/>
                    </a:p>
                  </a:txBody>
                  <a:tcPr/>
                </a:tc>
                <a:extLst>
                  <a:ext uri="{0D108BD9-81ED-4DB2-BD59-A6C34878D82A}">
                    <a16:rowId xmlns:a16="http://schemas.microsoft.com/office/drawing/2014/main" val="3740943418"/>
                  </a:ext>
                </a:extLst>
              </a:tr>
              <a:tr h="516435">
                <a:tc>
                  <a:txBody>
                    <a:bodyPr/>
                    <a:lstStyle/>
                    <a:p>
                      <a:pPr algn="l" fontAlgn="b"/>
                      <a:r>
                        <a:rPr lang="en-US" sz="1600" b="0" i="0" u="none" strike="noStrike">
                          <a:solidFill>
                            <a:srgbClr val="000000"/>
                          </a:solidFill>
                          <a:effectLst/>
                          <a:latin typeface="Aptos Narrow" panose="020B0004020202020204" pitchFamily="34" charset="0"/>
                        </a:rPr>
                        <a:t>Functionality</a:t>
                      </a:r>
                    </a:p>
                  </a:txBody>
                  <a:tcPr anchor="b"/>
                </a:tc>
                <a:tc>
                  <a:txBody>
                    <a:bodyPr/>
                    <a:lstStyle/>
                    <a:p>
                      <a:pPr algn="ctr" fontAlgn="b"/>
                      <a:r>
                        <a:rPr lang="en-US" sz="3200" b="1" i="0" u="none" strike="noStrike">
                          <a:solidFill>
                            <a:srgbClr val="000000"/>
                          </a:solidFill>
                          <a:effectLst/>
                          <a:latin typeface="Aptos Narrow" panose="020B0004020202020204" pitchFamily="34" charset="0"/>
                        </a:rPr>
                        <a:t>+</a:t>
                      </a:r>
                    </a:p>
                  </a:txBody>
                  <a:tcPr marL="6350" marR="6350" marT="6350" marB="0" anchor="b"/>
                </a:tc>
                <a:tc>
                  <a:txBody>
                    <a:bodyPr/>
                    <a:lstStyle/>
                    <a:p>
                      <a:pPr algn="ctr" fontAlgn="b"/>
                      <a:r>
                        <a:rPr lang="en-US" sz="3200" b="1" i="0" u="none" strike="noStrike">
                          <a:solidFill>
                            <a:srgbClr val="000000"/>
                          </a:solidFill>
                          <a:effectLst/>
                          <a:latin typeface="Aptos Narrow" panose="020B0004020202020204" pitchFamily="34" charset="0"/>
                        </a:rPr>
                        <a:t>+ -</a:t>
                      </a:r>
                    </a:p>
                  </a:txBody>
                  <a:tcPr marL="6350" marR="6350" marT="6350" marB="0" anchor="b"/>
                </a:tc>
                <a:extLst>
                  <a:ext uri="{0D108BD9-81ED-4DB2-BD59-A6C34878D82A}">
                    <a16:rowId xmlns:a16="http://schemas.microsoft.com/office/drawing/2014/main" val="3047599666"/>
                  </a:ext>
                </a:extLst>
              </a:tr>
              <a:tr h="516435">
                <a:tc>
                  <a:txBody>
                    <a:bodyPr/>
                    <a:lstStyle/>
                    <a:p>
                      <a:pPr algn="l" fontAlgn="b"/>
                      <a:r>
                        <a:rPr lang="en-US" sz="1600" b="0" i="0" u="none" strike="noStrike">
                          <a:solidFill>
                            <a:srgbClr val="000000"/>
                          </a:solidFill>
                          <a:effectLst/>
                          <a:latin typeface="Aptos Narrow" panose="020B0004020202020204" pitchFamily="34" charset="0"/>
                        </a:rPr>
                        <a:t>Maintainability</a:t>
                      </a:r>
                    </a:p>
                  </a:txBody>
                  <a:tcPr anchor="b"/>
                </a:tc>
                <a:tc>
                  <a:txBody>
                    <a:bodyPr/>
                    <a:lstStyle/>
                    <a:p>
                      <a:pPr algn="ctr" fontAlgn="b"/>
                      <a:r>
                        <a:rPr lang="en-US" sz="3200" b="1" i="0" u="none" strike="noStrike">
                          <a:solidFill>
                            <a:srgbClr val="000000"/>
                          </a:solidFill>
                          <a:effectLst/>
                          <a:latin typeface="Aptos Narrow" panose="020B0004020202020204" pitchFamily="34" charset="0"/>
                        </a:rPr>
                        <a:t>-</a:t>
                      </a:r>
                    </a:p>
                  </a:txBody>
                  <a:tcPr marL="6350" marR="6350" marT="6350" marB="0" anchor="b"/>
                </a:tc>
                <a:tc>
                  <a:txBody>
                    <a:bodyPr/>
                    <a:lstStyle/>
                    <a:p>
                      <a:pPr algn="ctr" fontAlgn="b"/>
                      <a:r>
                        <a:rPr lang="en-US" sz="3200" b="1" i="0" u="none" strike="noStrike">
                          <a:solidFill>
                            <a:srgbClr val="000000"/>
                          </a:solidFill>
                          <a:effectLst/>
                          <a:latin typeface="Aptos Narrow" panose="020B0004020202020204" pitchFamily="34" charset="0"/>
                        </a:rPr>
                        <a:t>+</a:t>
                      </a:r>
                    </a:p>
                  </a:txBody>
                  <a:tcPr marL="6350" marR="6350" marT="6350" marB="0" anchor="b"/>
                </a:tc>
                <a:extLst>
                  <a:ext uri="{0D108BD9-81ED-4DB2-BD59-A6C34878D82A}">
                    <a16:rowId xmlns:a16="http://schemas.microsoft.com/office/drawing/2014/main" val="1414572534"/>
                  </a:ext>
                </a:extLst>
              </a:tr>
              <a:tr h="516435">
                <a:tc>
                  <a:txBody>
                    <a:bodyPr/>
                    <a:lstStyle/>
                    <a:p>
                      <a:pPr algn="l" fontAlgn="b"/>
                      <a:r>
                        <a:rPr lang="en-US" sz="1600" b="0" i="0" u="none" strike="noStrike">
                          <a:solidFill>
                            <a:srgbClr val="000000"/>
                          </a:solidFill>
                          <a:effectLst/>
                          <a:latin typeface="Aptos Narrow" panose="020B0004020202020204" pitchFamily="34" charset="0"/>
                        </a:rPr>
                        <a:t>Observability</a:t>
                      </a:r>
                    </a:p>
                  </a:txBody>
                  <a:tcPr anchor="b"/>
                </a:tc>
                <a:tc>
                  <a:txBody>
                    <a:bodyPr/>
                    <a:lstStyle/>
                    <a:p>
                      <a:pPr algn="ctr" fontAlgn="b"/>
                      <a:r>
                        <a:rPr lang="en-US" sz="3200" b="1" i="0" u="none" strike="noStrike">
                          <a:solidFill>
                            <a:srgbClr val="000000"/>
                          </a:solidFill>
                          <a:effectLst/>
                          <a:latin typeface="Aptos Narrow" panose="020B0004020202020204" pitchFamily="34" charset="0"/>
                        </a:rPr>
                        <a:t>+-</a:t>
                      </a:r>
                    </a:p>
                  </a:txBody>
                  <a:tcPr marL="6350" marR="6350" marT="6350" marB="0" anchor="b"/>
                </a:tc>
                <a:tc>
                  <a:txBody>
                    <a:bodyPr/>
                    <a:lstStyle/>
                    <a:p>
                      <a:pPr algn="ctr" fontAlgn="b"/>
                      <a:r>
                        <a:rPr lang="en-US" sz="3200" b="1" i="0" u="none" strike="noStrike">
                          <a:solidFill>
                            <a:srgbClr val="000000"/>
                          </a:solidFill>
                          <a:effectLst/>
                          <a:latin typeface="Aptos Narrow" panose="020B0004020202020204" pitchFamily="34" charset="0"/>
                        </a:rPr>
                        <a:t>+</a:t>
                      </a:r>
                    </a:p>
                  </a:txBody>
                  <a:tcPr marL="6350" marR="6350" marT="6350" marB="0" anchor="b"/>
                </a:tc>
                <a:extLst>
                  <a:ext uri="{0D108BD9-81ED-4DB2-BD59-A6C34878D82A}">
                    <a16:rowId xmlns:a16="http://schemas.microsoft.com/office/drawing/2014/main" val="2516857181"/>
                  </a:ext>
                </a:extLst>
              </a:tr>
              <a:tr h="516435">
                <a:tc>
                  <a:txBody>
                    <a:bodyPr/>
                    <a:lstStyle/>
                    <a:p>
                      <a:pPr algn="l" fontAlgn="b"/>
                      <a:r>
                        <a:rPr lang="en-US" sz="1600" b="0" i="0" u="none" strike="noStrike">
                          <a:solidFill>
                            <a:srgbClr val="000000"/>
                          </a:solidFill>
                          <a:effectLst/>
                          <a:latin typeface="Aptos Narrow" panose="020B0004020202020204" pitchFamily="34" charset="0"/>
                        </a:rPr>
                        <a:t>Performance</a:t>
                      </a:r>
                    </a:p>
                  </a:txBody>
                  <a:tcPr anchor="b"/>
                </a:tc>
                <a:tc>
                  <a:txBody>
                    <a:bodyPr/>
                    <a:lstStyle/>
                    <a:p>
                      <a:pPr algn="ctr" fontAlgn="b"/>
                      <a:r>
                        <a:rPr lang="en-US" sz="3200" b="1" i="0" u="none" strike="noStrike">
                          <a:solidFill>
                            <a:srgbClr val="000000"/>
                          </a:solidFill>
                          <a:effectLst/>
                          <a:latin typeface="Aptos Narrow" panose="020B0004020202020204" pitchFamily="34" charset="0"/>
                        </a:rPr>
                        <a:t>++</a:t>
                      </a:r>
                    </a:p>
                  </a:txBody>
                  <a:tcPr marL="6350" marR="6350" marT="6350" marB="0" anchor="b"/>
                </a:tc>
                <a:tc>
                  <a:txBody>
                    <a:bodyPr/>
                    <a:lstStyle/>
                    <a:p>
                      <a:pPr algn="ctr" fontAlgn="b"/>
                      <a:r>
                        <a:rPr lang="en-US" sz="3200" b="1" i="0" u="none" strike="noStrike">
                          <a:solidFill>
                            <a:srgbClr val="000000"/>
                          </a:solidFill>
                          <a:effectLst/>
                          <a:latin typeface="Aptos Narrow" panose="020B0004020202020204" pitchFamily="34" charset="0"/>
                        </a:rPr>
                        <a:t>-</a:t>
                      </a:r>
                    </a:p>
                  </a:txBody>
                  <a:tcPr marL="6350" marR="6350" marT="6350" marB="0" anchor="b"/>
                </a:tc>
                <a:extLst>
                  <a:ext uri="{0D108BD9-81ED-4DB2-BD59-A6C34878D82A}">
                    <a16:rowId xmlns:a16="http://schemas.microsoft.com/office/drawing/2014/main" val="1745936305"/>
                  </a:ext>
                </a:extLst>
              </a:tr>
              <a:tr h="516435">
                <a:tc>
                  <a:txBody>
                    <a:bodyPr/>
                    <a:lstStyle/>
                    <a:p>
                      <a:pPr algn="l" fontAlgn="b"/>
                      <a:r>
                        <a:rPr lang="en-US" sz="1600" b="0" i="0" u="none" strike="noStrike">
                          <a:solidFill>
                            <a:srgbClr val="000000"/>
                          </a:solidFill>
                          <a:effectLst/>
                          <a:latin typeface="Aptos Narrow" panose="020B0004020202020204" pitchFamily="34" charset="0"/>
                        </a:rPr>
                        <a:t>Reliability</a:t>
                      </a:r>
                    </a:p>
                  </a:txBody>
                  <a:tcPr anchor="b"/>
                </a:tc>
                <a:tc>
                  <a:txBody>
                    <a:bodyPr/>
                    <a:lstStyle/>
                    <a:p>
                      <a:pPr algn="ctr" fontAlgn="b"/>
                      <a:r>
                        <a:rPr lang="en-US" sz="3200" b="1" i="0" u="none" strike="noStrike">
                          <a:solidFill>
                            <a:srgbClr val="000000"/>
                          </a:solidFill>
                          <a:effectLst/>
                          <a:latin typeface="Aptos Narrow" panose="020B0004020202020204" pitchFamily="34" charset="0"/>
                        </a:rPr>
                        <a:t>++</a:t>
                      </a:r>
                    </a:p>
                  </a:txBody>
                  <a:tcPr marL="6350" marR="6350" marT="6350" marB="0" anchor="b"/>
                </a:tc>
                <a:tc>
                  <a:txBody>
                    <a:bodyPr/>
                    <a:lstStyle/>
                    <a:p>
                      <a:pPr algn="ctr" fontAlgn="b"/>
                      <a:r>
                        <a:rPr lang="en-US" sz="3200" b="1" i="0" u="none" strike="noStrike">
                          <a:solidFill>
                            <a:srgbClr val="000000"/>
                          </a:solidFill>
                          <a:effectLst/>
                          <a:latin typeface="Aptos Narrow" panose="020B0004020202020204" pitchFamily="34" charset="0"/>
                        </a:rPr>
                        <a:t>++</a:t>
                      </a:r>
                    </a:p>
                  </a:txBody>
                  <a:tcPr marL="6350" marR="6350" marT="6350" marB="0" anchor="b"/>
                </a:tc>
                <a:extLst>
                  <a:ext uri="{0D108BD9-81ED-4DB2-BD59-A6C34878D82A}">
                    <a16:rowId xmlns:a16="http://schemas.microsoft.com/office/drawing/2014/main" val="1800408102"/>
                  </a:ext>
                </a:extLst>
              </a:tr>
              <a:tr h="516435">
                <a:tc>
                  <a:txBody>
                    <a:bodyPr/>
                    <a:lstStyle/>
                    <a:p>
                      <a:pPr algn="l" fontAlgn="b"/>
                      <a:r>
                        <a:rPr lang="en-US" sz="1600" b="0" i="0" u="none" strike="noStrike">
                          <a:solidFill>
                            <a:srgbClr val="000000"/>
                          </a:solidFill>
                          <a:effectLst/>
                          <a:latin typeface="Aptos Narrow" panose="020B0004020202020204" pitchFamily="34" charset="0"/>
                        </a:rPr>
                        <a:t>Reusability</a:t>
                      </a:r>
                    </a:p>
                  </a:txBody>
                  <a:tcPr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3200" b="1" i="0" u="none" strike="noStrike">
                          <a:solidFill>
                            <a:srgbClr val="000000"/>
                          </a:solidFill>
                          <a:effectLst/>
                          <a:latin typeface="Aptos Narrow" panose="020B0004020202020204" pitchFamily="34" charset="0"/>
                        </a:rPr>
                        <a:t>+-</a:t>
                      </a:r>
                    </a:p>
                  </a:txBody>
                  <a:tcPr marL="6350" marR="6350" marT="6350" marB="0" anchor="b"/>
                </a:tc>
                <a:tc>
                  <a:txBody>
                    <a:bodyPr/>
                    <a:lstStyle/>
                    <a:p>
                      <a:pPr algn="ctr" fontAlgn="b"/>
                      <a:r>
                        <a:rPr lang="en-US" sz="3200" b="1" i="0" u="none" strike="noStrike">
                          <a:solidFill>
                            <a:srgbClr val="000000"/>
                          </a:solidFill>
                          <a:effectLst/>
                          <a:latin typeface="Aptos Narrow" panose="020B0004020202020204" pitchFamily="34" charset="0"/>
                        </a:rPr>
                        <a:t>+-</a:t>
                      </a:r>
                    </a:p>
                  </a:txBody>
                  <a:tcPr marL="6350" marR="6350" marT="6350" marB="0" anchor="b"/>
                </a:tc>
                <a:extLst>
                  <a:ext uri="{0D108BD9-81ED-4DB2-BD59-A6C34878D82A}">
                    <a16:rowId xmlns:a16="http://schemas.microsoft.com/office/drawing/2014/main" val="3615117872"/>
                  </a:ext>
                </a:extLst>
              </a:tr>
              <a:tr h="516435">
                <a:tc>
                  <a:txBody>
                    <a:bodyPr/>
                    <a:lstStyle/>
                    <a:p>
                      <a:pPr algn="l" fontAlgn="b"/>
                      <a:r>
                        <a:rPr lang="en-US" sz="1600" b="0" i="0" u="none" strike="noStrike">
                          <a:solidFill>
                            <a:srgbClr val="000000"/>
                          </a:solidFill>
                          <a:effectLst/>
                          <a:latin typeface="Aptos Narrow" panose="020B0004020202020204" pitchFamily="34" charset="0"/>
                        </a:rPr>
                        <a:t>Scalability</a:t>
                      </a:r>
                    </a:p>
                  </a:txBody>
                  <a:tcPr anchor="b"/>
                </a:tc>
                <a:tc>
                  <a:txBody>
                    <a:bodyPr/>
                    <a:lstStyle/>
                    <a:p>
                      <a:pPr algn="ctr" fontAlgn="b"/>
                      <a:r>
                        <a:rPr lang="en-US" sz="3200" b="1" i="0" u="none" strike="noStrike">
                          <a:solidFill>
                            <a:srgbClr val="000000"/>
                          </a:solidFill>
                          <a:effectLst/>
                          <a:latin typeface="Aptos Narrow" panose="020B0004020202020204" pitchFamily="34" charset="0"/>
                        </a:rPr>
                        <a:t>++</a:t>
                      </a:r>
                    </a:p>
                  </a:txBody>
                  <a:tcPr marL="6350" marR="6350" marT="6350" marB="0" anchor="b"/>
                </a:tc>
                <a:tc>
                  <a:txBody>
                    <a:bodyPr/>
                    <a:lstStyle/>
                    <a:p>
                      <a:pPr algn="ctr" fontAlgn="b"/>
                      <a:r>
                        <a:rPr lang="en-US" sz="3200" b="1" i="0" u="none" strike="noStrike">
                          <a:solidFill>
                            <a:srgbClr val="000000"/>
                          </a:solidFill>
                          <a:effectLst/>
                          <a:latin typeface="Aptos Narrow" panose="020B0004020202020204" pitchFamily="34" charset="0"/>
                        </a:rPr>
                        <a:t>++</a:t>
                      </a:r>
                    </a:p>
                  </a:txBody>
                  <a:tcPr marL="6350" marR="6350" marT="6350" marB="0" anchor="b"/>
                </a:tc>
                <a:extLst>
                  <a:ext uri="{0D108BD9-81ED-4DB2-BD59-A6C34878D82A}">
                    <a16:rowId xmlns:a16="http://schemas.microsoft.com/office/drawing/2014/main" val="1188296263"/>
                  </a:ext>
                </a:extLst>
              </a:tr>
            </a:tbl>
          </a:graphicData>
        </a:graphic>
      </p:graphicFrame>
    </p:spTree>
    <p:extLst>
      <p:ext uri="{BB962C8B-B14F-4D97-AF65-F5344CB8AC3E}">
        <p14:creationId xmlns:p14="http://schemas.microsoft.com/office/powerpoint/2010/main" val="1551786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3491296a55243fcfa3adfdb98577c8d92664385b"/>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oBAQEBAQEBAQEBAQEBAQIAAAAAAAAAAwAAAAMAAAAA/////wQAJwwAAAAAAAAAAAAAIAD///////////////8AAAD///////////////8DAAAAAgD///////8DAAAAAgD///////8DAAAAAgD///////////////////////////////////////////////////////////////////////////////////////////////////////////////////////////////////////////////////////////////////////////////////////////////////////////////////////////////////////////////////////////////////////////////////////////////////////////////////////////////////////////////////////////////////////////////////////////////////////////////////////////////////////////////////////////////////////////////8BACAA////////////////AAAO////////AwAAAAMA////////////////////////////////////////////////////////////////////////////////////////////////////////////////////////////////////////////////////////////////////////////////////////////////////////////////////////////////////////////////////////////////////////////////////////////////////////////////////////////////////////////////////////////////////////////////////////////////////////////////////////////////////////////////////////////////////////////////////////////////////////////////////////AgADAP///////wQAAAACABAAC9c6ORnWM5tMu1MQHp0FRLgFAAAAAAADAAAAAAADAAAAAwADAAAAAAADAAAAAwADAAAAAAD///////8DAAIA////////BAAAAAMAEAALu9AHXIhPNUmMdon/CC3CZA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KgLAAAAAAAAAAAAACAB////////////////AAAA////////////////BAAAAAMA////////BAAAAAMA////////BAAAAAMA////////BAAAAAIA////////BAAAAAIA////////BAAAAAIA////////BAAAAAIA////////BAAAAAIA////////BAAAAAIA////////BAAAAAIA////////////////////////////////////////////////////////////////////////////////////////////////////////////////////////////////////////////////////////////////////////////////////////////////////////////////////////////////////////////////////////////////////////////////////////////////////////////////////////////////////////////////////////////////AQAgAf///////////////wAADv///////wQAAAACAP///////////////////////////////////////////////////////////////////////////////////////////////////////////////////////////////////////////////////////////////////////////////////////////////////////////////////////////////////////////////////////////////////////////////////////////////////////////////////////////////////////////////////////////////////////////////////////////////////////////////////////////////////////////////////////////////////////////////////////////////////////////////////////wIACgEDAAAAAgD///////8aAAZMaW5rZWRTaGFwZXNEYXRhUHJvcGVydHlfMAUAAAAAAAQAAAADAAQAAAABAAQAAAADAP///////wQAAAADAP///////wQAAAAAAP///////wQAAAAAAP///////wQAAAAAAP///////wQAAAAAAP///////wQAAAAAAP///////wQAAAAAAP///////wQAAAAAAP///////wMAAwEDAAAAAwD///////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c6ORnWM5tMu1MQHp0FRLgDRGF0YQAbAAAABExpbmtlZFNoYXBlRGF0YQAFAAAAAAACTmFtZQAZAAAATGlua2VkU2hhcGVzRGF0YVByb3BlcnR5ABBWZXJzaW9uAAAAAAAJTGFzdFdyaXRlAOfgpHh7AQAAAAEA/////50AnQAAAAVfaWQAEAAAAAS70AdciE81SYx2if8ILcJkA0RhdGEAKgAAAAhQcmVzZW50YXRpb25TY2FubmVkRm9yTGlua2VkU2hhcGVzAAEAAk5hbWUAJAAAAExpbmtlZFNoYXBlUHJlc2VudGF0aW9uU2V0dGluZ3NEYXRhABBWZXJzaW9uAAAAAAAJTGFzdFdyaXRlAPPgpHh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THINKCELLPRESENTATIONDONOTDELETE" val="&lt;?xml version=&quot;1.0&quot; encoding=&quot;UTF-16&quot; standalone=&quot;yes&quot;?&gt;&lt;root reqver=&quot;27037&quot;&gt;&lt;version val=&quot;33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guideLines"/>
</p:tagLst>
</file>

<file path=ppt/tags/tag11.xml><?xml version="1.0" encoding="utf-8"?>
<p:tagLst xmlns:a="http://schemas.openxmlformats.org/drawingml/2006/main" xmlns:r="http://schemas.openxmlformats.org/officeDocument/2006/relationships" xmlns:p="http://schemas.openxmlformats.org/presentationml/2006/main">
  <p:tag name="NAME" val="guideLin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ISAGENDA" val="true"/>
  <p:tag name="CUSTOMID" val="{6C7EFE45-E367-4907-B5E7-53E42BF30B76}"/>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guideLines"/>
</p:tagLst>
</file>

<file path=ppt/tags/tag4.xml><?xml version="1.0" encoding="utf-8"?>
<p:tagLst xmlns:a="http://schemas.openxmlformats.org/drawingml/2006/main" xmlns:r="http://schemas.openxmlformats.org/officeDocument/2006/relationships" xmlns:p="http://schemas.openxmlformats.org/presentationml/2006/main">
  <p:tag name="NAME" val="guideLines"/>
</p:tagLst>
</file>

<file path=ppt/tags/tag5.xml><?xml version="1.0" encoding="utf-8"?>
<p:tagLst xmlns:a="http://schemas.openxmlformats.org/drawingml/2006/main" xmlns:r="http://schemas.openxmlformats.org/officeDocument/2006/relationships" xmlns:p="http://schemas.openxmlformats.org/presentationml/2006/main">
  <p:tag name="NAME" val="guideLines"/>
</p:tagLst>
</file>

<file path=ppt/tags/tag6.xml><?xml version="1.0" encoding="utf-8"?>
<p:tagLst xmlns:a="http://schemas.openxmlformats.org/drawingml/2006/main" xmlns:r="http://schemas.openxmlformats.org/officeDocument/2006/relationships" xmlns:p="http://schemas.openxmlformats.org/presentationml/2006/main">
  <p:tag name="NAME" val="guideLines"/>
</p:tagLst>
</file>

<file path=ppt/tags/tag7.xml><?xml version="1.0" encoding="utf-8"?>
<p:tagLst xmlns:a="http://schemas.openxmlformats.org/drawingml/2006/main" xmlns:r="http://schemas.openxmlformats.org/officeDocument/2006/relationships" xmlns:p="http://schemas.openxmlformats.org/presentationml/2006/main">
  <p:tag name="NAME" val="guideLines"/>
</p:tagLst>
</file>

<file path=ppt/tags/tag8.xml><?xml version="1.0" encoding="utf-8"?>
<p:tagLst xmlns:a="http://schemas.openxmlformats.org/drawingml/2006/main" xmlns:r="http://schemas.openxmlformats.org/officeDocument/2006/relationships" xmlns:p="http://schemas.openxmlformats.org/presentationml/2006/main">
  <p:tag name="NAME" val="guideLines"/>
</p:tagLst>
</file>

<file path=ppt/tags/tag9.xml><?xml version="1.0" encoding="utf-8"?>
<p:tagLst xmlns:a="http://schemas.openxmlformats.org/drawingml/2006/main" xmlns:r="http://schemas.openxmlformats.org/officeDocument/2006/relationships" xmlns:p="http://schemas.openxmlformats.org/presentationml/2006/main">
  <p:tag name="NAME" val="guideLines"/>
</p:tagLst>
</file>

<file path=ppt/theme/theme1.xml><?xml version="1.0" encoding="utf-8"?>
<a:theme xmlns:a="http://schemas.openxmlformats.org/drawingml/2006/main" name="Caldic">
  <a:themeElements>
    <a:clrScheme name="CaldicPP">
      <a:dk1>
        <a:srgbClr val="4D4D4D"/>
      </a:dk1>
      <a:lt1>
        <a:sysClr val="window" lastClr="FFFFFF"/>
      </a:lt1>
      <a:dk2>
        <a:srgbClr val="FF5000"/>
      </a:dk2>
      <a:lt2>
        <a:srgbClr val="F5F3F1"/>
      </a:lt2>
      <a:accent1>
        <a:srgbClr val="153243"/>
      </a:accent1>
      <a:accent2>
        <a:srgbClr val="AA9D8F"/>
      </a:accent2>
      <a:accent3>
        <a:srgbClr val="FF5000"/>
      </a:accent3>
      <a:accent4>
        <a:srgbClr val="5B6F7B"/>
      </a:accent4>
      <a:accent5>
        <a:srgbClr val="F59E29"/>
      </a:accent5>
      <a:accent6>
        <a:srgbClr val="C4D1DE"/>
      </a:accent6>
      <a:hlink>
        <a:srgbClr val="FF5000"/>
      </a:hlink>
      <a:folHlink>
        <a:srgbClr val="FF5000"/>
      </a:folHlink>
    </a:clrScheme>
    <a:fontScheme name="CaldicPowerPoint">
      <a:majorFont>
        <a:latin typeface="Calibri"/>
        <a:ea typeface=""/>
        <a:cs typeface=""/>
      </a:majorFont>
      <a:minorFont>
        <a:latin typeface="Calibri"/>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Caldic.potx" id="{7C10148A-FD62-44F1-A693-987873977617}" vid="{E4DC7AB9-55ED-4BFF-AD4F-7ABE27F1158B}"/>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qs:outline xmlns:qs="urn:strategyCompass:quickSlide:basic:outline:2014">
  <qs:settings>
    <qs:designID>QuickSlideAgenda16_16_9</qs:designID>
    <qs:numberingChecked>False</qs:numberingChecked>
    <qs:subNumberingChecked>False</qs:subNumberingChecked>
    <qs:pagesNumberChecked>False</qs:pagesNumberChecked>
    <qs:topicsChecked>True</qs:topicsChecked>
    <qs:subtopicsChecked>True</qs:subtopicsChecked>
    <qs:extratopicsChecked>False</qs:extratopicsChecked>
    <qs:overviewChecked>False</qs:overviewChecked>
    <qs:chapterNumberOnSlidesChecked>False</qs:chapterNumberOnSlidesChecked>
    <qs:chapterNameOnSlidesChecked>False</qs:chapterNameOnSlidesChecked>
    <qs:autoUpdateChecked>False</qs:autoUpdateChecked>
    <qs:subChaptersOnlyOnActiveChapter>True</qs:subChaptersOnlyOnActiveChapter>
    <qs:separatorOnlyActiveChapterChecked>False</qs:separatorOnlyActiveChapterChecked>
    <qs:overviewWithSubchaptersChecked>True</qs:overviewWithSubchaptersChecked>
    <qs:sectionsChecked>False</qs:sectionsChecked>
    <qs:navigationChecked>False</qs:navigationChecked>
    <qs:navigationSubChecked>False</qs:navigationSubChecked>
    <qs:linkChecked>False</qs:linkChecked>
  </qs:settings>
  <qs:title>Agenda</qs:title>
  <qs:overviewpage/>
  <qs:chapter>
    <qs:id>5537</qs:id>
    <qs:pageNr>4</qs:pageNr>
    <qs:slideIndex>6</qs:slideIndex>
    <qs:title>Intro</qs:title>
    <qs:navText/>
    <qs:number/>
    <qs:position>1</qs:position>
    <qs:level>0</qs:level>
  </qs:chapter>
  <qs:chapter>
    <qs:id>5538</qs:id>
    <qs:pageNr>5</qs:pageNr>
    <qs:slideIndex>7</qs:slideIndex>
    <qs:title>Breakout - LATAM</qs:title>
    <qs:navText/>
    <qs:number/>
    <qs:position>2</qs:position>
    <qs:level>0</qs:level>
  </qs:chapter>
  <qs:chapter>
    <qs:id>5539</qs:id>
    <qs:pageNr>6</qs:pageNr>
    <qs:slideIndex>8</qs:slideIndex>
    <qs:title>Breakout - Old CALDIC</qs:title>
    <qs:navText/>
    <qs:number/>
    <qs:position>3</qs:position>
    <qs:level>0</qs:level>
  </qs:chapter>
  <qs:chapter>
    <qs:id>5540</qs:id>
    <qs:pageNr>7</qs:pageNr>
    <qs:slideIndex>9</qs:slideIndex>
    <qs:title>Breakout - Connell</qs:title>
    <qs:navText/>
    <qs:number/>
    <qs:position>4</qs:position>
    <qs:level>0</qs:level>
  </qs:chapter>
</qs:outline>
</file>

<file path=customXml/item3.xml><?xml version="1.0" encoding="utf-8"?>
<ct:contentTypeSchema xmlns:ct="http://schemas.microsoft.com/office/2006/metadata/contentType" xmlns:ma="http://schemas.microsoft.com/office/2006/metadata/properties/metaAttributes" ct:_="" ma:_="" ma:contentTypeName="Document" ma:contentTypeID="0x010100514A8186D6601D439791D737200E81AC" ma:contentTypeVersion="14" ma:contentTypeDescription="Create a new document." ma:contentTypeScope="" ma:versionID="8f7fa4d49fe6ac11654308996f0e4c1f">
  <xsd:schema xmlns:xsd="http://www.w3.org/2001/XMLSchema" xmlns:xs="http://www.w3.org/2001/XMLSchema" xmlns:p="http://schemas.microsoft.com/office/2006/metadata/properties" xmlns:ns2="46417cea-be07-4e2f-adfc-a28be27cd2f3" xmlns:ns3="6a9394bf-138d-42af-9f47-ad03282829df" targetNamespace="http://schemas.microsoft.com/office/2006/metadata/properties" ma:root="true" ma:fieldsID="87ae6531c0eec0de82d413264c3a3dfa" ns2:_="" ns3:_="">
    <xsd:import namespace="46417cea-be07-4e2f-adfc-a28be27cd2f3"/>
    <xsd:import namespace="6a9394bf-138d-42af-9f47-ad03282829d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417cea-be07-4e2f-adfc-a28be27cd2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a9394bf-138d-42af-9f47-ad03282829d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qs:outline xmlns:qs="urn:strategyCompass:quickSlide:basic:outlineSlide:2014">
  <qs:id>2147476450</qs:id>
  <qs:pageNr>21</qs:pageNr>
  <qs:slideIndex>23</qs:slideIndex>
  <qs:title>Contents and data sources</qs:title>
  <qs:navText/>
  <qs:number/>
  <qs:position>2</qs:position>
  <qs:level>1</qs:level>
  <qs:parent>
    <qs:id>2147476449</qs:id>
    <qs:pageNr>17</qs:pageNr>
    <qs:slideIndex>19</qs:slideIndex>
    <qs:title>Approach to integration</qs:title>
    <qs:navText/>
    <qs:number/>
    <qs:position>4</qs:position>
    <qs:level>0</qs:level>
  </qs:parent>
</qs:outline>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F886A7C-A0F4-4717-8088-A4E2E8C4AB5E}">
  <ds:schemaRefs>
    <ds:schemaRef ds:uri="http://purl.org/dc/elements/1.1/"/>
    <ds:schemaRef ds:uri="http://purl.org/dc/dcmitype/"/>
    <ds:schemaRef ds:uri="http://schemas.microsoft.com/office/2006/documentManagement/types"/>
    <ds:schemaRef ds:uri="http://schemas.openxmlformats.org/package/2006/metadata/core-properties"/>
    <ds:schemaRef ds:uri="46417cea-be07-4e2f-adfc-a28be27cd2f3"/>
    <ds:schemaRef ds:uri="http://www.w3.org/XML/1998/namespace"/>
    <ds:schemaRef ds:uri="6a9394bf-138d-42af-9f47-ad03282829df"/>
    <ds:schemaRef ds:uri="http://purl.org/dc/terms/"/>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FE80C6B3-EEB7-4C6C-8EE4-7E4939C25148}">
  <ds:schemaRefs>
    <ds:schemaRef ds:uri="urn:strategyCompass:quickSlide:basic:outline:2014"/>
  </ds:schemaRefs>
</ds:datastoreItem>
</file>

<file path=customXml/itemProps3.xml><?xml version="1.0" encoding="utf-8"?>
<ds:datastoreItem xmlns:ds="http://schemas.openxmlformats.org/officeDocument/2006/customXml" ds:itemID="{850CCBBD-5410-4F41-A62B-BB0D66A577BE}">
  <ds:schemaRefs>
    <ds:schemaRef ds:uri="46417cea-be07-4e2f-adfc-a28be27cd2f3"/>
    <ds:schemaRef ds:uri="6a9394bf-138d-42af-9f47-ad03282829d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6C7EFE45-E367-4907-B5E7-53E42BF30B76}">
  <ds:schemaRefs>
    <ds:schemaRef ds:uri="urn:strategyCompass:quickSlide:basic:outlineSlide:2014"/>
  </ds:schemaRefs>
</ds:datastoreItem>
</file>

<file path=customXml/itemProps5.xml><?xml version="1.0" encoding="utf-8"?>
<ds:datastoreItem xmlns:ds="http://schemas.openxmlformats.org/officeDocument/2006/customXml" ds:itemID="{60C41924-B453-487D-9E5D-7A854FB639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ldic</Template>
  <TotalTime>1225</TotalTime>
  <Words>209</Words>
  <Application>Microsoft Macintosh PowerPoint</Application>
  <PresentationFormat>Widescreen</PresentationFormat>
  <Paragraphs>66</Paragraphs>
  <Slides>5</Slides>
  <Notes>3</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ptos Narrow</vt:lpstr>
      <vt:lpstr>Arial</vt:lpstr>
      <vt:lpstr>Calibri</vt:lpstr>
      <vt:lpstr>Calibri Light</vt:lpstr>
      <vt:lpstr>Caldic</vt:lpstr>
      <vt:lpstr>think-cell Slide</vt:lpstr>
      <vt:lpstr>GDP September, 2024</vt:lpstr>
      <vt:lpstr>Global Reporting – Europe</vt:lpstr>
      <vt:lpstr>Management Summary</vt:lpstr>
      <vt:lpstr>PowerPoint Presentation</vt:lpstr>
      <vt:lpstr>Findings - Orchestr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ing and Planning Project Phase 1 Kick-off</dc:title>
  <dc:subject/>
  <dc:creator>Laštovka, Luděk</dc:creator>
  <cp:keywords/>
  <dc:description>Template by HQ Solutions</dc:description>
  <cp:lastModifiedBy>Rene Nadorp</cp:lastModifiedBy>
  <cp:revision>3</cp:revision>
  <dcterms:created xsi:type="dcterms:W3CDTF">2023-02-20T12:00:14Z</dcterms:created>
  <dcterms:modified xsi:type="dcterms:W3CDTF">2024-09-28T10:35:0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dEntity">
    <vt:lpwstr>Templates</vt:lpwstr>
  </property>
  <property fmtid="{D5CDD505-2E9C-101B-9397-08002B2CF9AE}" pid="3" name="MSIP_Label_3306f295-744d-4320-9498-657e0685c46d_Enabled">
    <vt:lpwstr>True</vt:lpwstr>
  </property>
  <property fmtid="{D5CDD505-2E9C-101B-9397-08002B2CF9AE}" pid="4" name="MSIP_Label_3306f295-744d-4320-9498-657e0685c46d_SiteId">
    <vt:lpwstr>2a916b80-031c-46f9-8f14-884c576496ca</vt:lpwstr>
  </property>
  <property fmtid="{D5CDD505-2E9C-101B-9397-08002B2CF9AE}" pid="5" name="MSIP_Label_3306f295-744d-4320-9498-657e0685c46d_Owner">
    <vt:lpwstr>l.lastovka@caldic.com</vt:lpwstr>
  </property>
  <property fmtid="{D5CDD505-2E9C-101B-9397-08002B2CF9AE}" pid="6" name="MSIP_Label_3306f295-744d-4320-9498-657e0685c46d_SetDate">
    <vt:lpwstr>2023-02-20T12:01:32.4379047Z</vt:lpwstr>
  </property>
  <property fmtid="{D5CDD505-2E9C-101B-9397-08002B2CF9AE}" pid="7" name="MSIP_Label_3306f295-744d-4320-9498-657e0685c46d_Name">
    <vt:lpwstr>Public</vt:lpwstr>
  </property>
  <property fmtid="{D5CDD505-2E9C-101B-9397-08002B2CF9AE}" pid="8" name="MSIP_Label_3306f295-744d-4320-9498-657e0685c46d_Application">
    <vt:lpwstr>Microsoft Azure Information Protection</vt:lpwstr>
  </property>
  <property fmtid="{D5CDD505-2E9C-101B-9397-08002B2CF9AE}" pid="9" name="MSIP_Label_3306f295-744d-4320-9498-657e0685c46d_Extended_MSFT_Method">
    <vt:lpwstr>Automatic</vt:lpwstr>
  </property>
  <property fmtid="{D5CDD505-2E9C-101B-9397-08002B2CF9AE}" pid="10" name="Sensitivity">
    <vt:lpwstr>Public</vt:lpwstr>
  </property>
  <property fmtid="{D5CDD505-2E9C-101B-9397-08002B2CF9AE}" pid="11" name="ContentTypeId">
    <vt:lpwstr>0x010100514A8186D6601D439791D737200E81AC</vt:lpwstr>
  </property>
  <property fmtid="{D5CDD505-2E9C-101B-9397-08002B2CF9AE}" pid="12" name="MSIP_Label_c8f71722-66ba-4e11-a629-8ab19b9c644e_SiteId">
    <vt:lpwstr>b8fc25f6-8687-4690-aeb4-96fa17863136</vt:lpwstr>
  </property>
  <property fmtid="{D5CDD505-2E9C-101B-9397-08002B2CF9AE}" pid="13" name="MSIP_Label_c8f71722-66ba-4e11-a629-8ab19b9c644e_Method">
    <vt:lpwstr>Standard</vt:lpwstr>
  </property>
  <property fmtid="{D5CDD505-2E9C-101B-9397-08002B2CF9AE}" pid="14" name="ClassificationContentMarkingFooterText">
    <vt:lpwstr>- Confidential -</vt:lpwstr>
  </property>
  <property fmtid="{D5CDD505-2E9C-101B-9397-08002B2CF9AE}" pid="15" name="MSIP_Label_c8f71722-66ba-4e11-a629-8ab19b9c644e_Enabled">
    <vt:lpwstr>true</vt:lpwstr>
  </property>
  <property fmtid="{D5CDD505-2E9C-101B-9397-08002B2CF9AE}" pid="16" name="MSIP_Label_c8f71722-66ba-4e11-a629-8ab19b9c644e_SetDate">
    <vt:lpwstr>2023-03-14T22:25:28Z</vt:lpwstr>
  </property>
  <property fmtid="{D5CDD505-2E9C-101B-9397-08002B2CF9AE}" pid="17" name="MSIP_Label_c8f71722-66ba-4e11-a629-8ab19b9c644e_Name">
    <vt:lpwstr>Confidential</vt:lpwstr>
  </property>
  <property fmtid="{D5CDD505-2E9C-101B-9397-08002B2CF9AE}" pid="18" name="ClassificationContentMarkingFooterLocations">
    <vt:lpwstr>Caldic:7</vt:lpwstr>
  </property>
  <property fmtid="{D5CDD505-2E9C-101B-9397-08002B2CF9AE}" pid="19" name="MSIP_Label_c8f71722-66ba-4e11-a629-8ab19b9c644e_ActionId">
    <vt:lpwstr>ea9f0daf-e857-4755-aa85-09933dbb1c2e</vt:lpwstr>
  </property>
  <property fmtid="{D5CDD505-2E9C-101B-9397-08002B2CF9AE}" pid="20" name="MSIP_Label_c8f71722-66ba-4e11-a629-8ab19b9c644e_ContentBits">
    <vt:lpwstr>2</vt:lpwstr>
  </property>
  <property fmtid="{D5CDD505-2E9C-101B-9397-08002B2CF9AE}" pid="21" name="MediaServiceImageTags">
    <vt:lpwstr/>
  </property>
</Properties>
</file>